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8" r:id="rId3"/>
    <p:sldMasterId id="2147483703" r:id="rId4"/>
    <p:sldMasterId id="2147483710" r:id="rId5"/>
    <p:sldMasterId id="2147483714" r:id="rId6"/>
  </p:sldMasterIdLst>
  <p:notesMasterIdLst>
    <p:notesMasterId r:id="rId8"/>
  </p:notesMasterIdLst>
  <p:handoutMasterIdLst>
    <p:handoutMasterId r:id="rId9"/>
  </p:handoutMasterIdLst>
  <p:sldIdLst>
    <p:sldId id="810" r:id="rId7"/>
  </p:sldIdLst>
  <p:sldSz cx="11950700" cy="6721475"/>
  <p:notesSz cx="7315200" cy="9601200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3" userDrawn="1">
          <p15:clr>
            <a:srgbClr val="A4A3A4"/>
          </p15:clr>
        </p15:guide>
        <p15:guide id="2" pos="89" userDrawn="1">
          <p15:clr>
            <a:srgbClr val="A4A3A4"/>
          </p15:clr>
        </p15:guide>
        <p15:guide id="4" pos="7387" userDrawn="1">
          <p15:clr>
            <a:srgbClr val="A4A3A4"/>
          </p15:clr>
        </p15:guide>
        <p15:guide id="5" orient="horz" pos="4157" userDrawn="1">
          <p15:clr>
            <a:srgbClr val="A4A3A4"/>
          </p15:clr>
        </p15:guide>
        <p15:guide id="6" orient="horz" pos="3646" userDrawn="1">
          <p15:clr>
            <a:srgbClr val="A4A3A4"/>
          </p15:clr>
        </p15:guide>
        <p15:guide id="7" pos="5992" userDrawn="1">
          <p15:clr>
            <a:srgbClr val="A4A3A4"/>
          </p15:clr>
        </p15:guide>
        <p15:guide id="8" pos="5268" userDrawn="1">
          <p15:clr>
            <a:srgbClr val="A4A3A4"/>
          </p15:clr>
        </p15:guide>
        <p15:guide id="9" pos="52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92B6FE"/>
    <a:srgbClr val="FAFAFA"/>
    <a:srgbClr val="F1F1F1"/>
    <a:srgbClr val="FDFDFD"/>
    <a:srgbClr val="EDEDED"/>
    <a:srgbClr val="E5E5E5"/>
    <a:srgbClr val="0563BB"/>
    <a:srgbClr val="0354B0"/>
    <a:srgbClr val="0049A6"/>
    <a:srgbClr val="0457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04" autoAdjust="0"/>
    <p:restoredTop sz="94450" autoAdjust="0"/>
  </p:normalViewPr>
  <p:slideViewPr>
    <p:cSldViewPr snapToGrid="0" snapToObjects="1">
      <p:cViewPr>
        <p:scale>
          <a:sx n="132" d="100"/>
          <a:sy n="132" d="100"/>
        </p:scale>
        <p:origin x="2024" y="1192"/>
      </p:cViewPr>
      <p:guideLst>
        <p:guide orient="horz" pos="293"/>
        <p:guide pos="89"/>
        <p:guide pos="7387"/>
        <p:guide orient="horz" pos="4157"/>
        <p:guide orient="horz" pos="3646"/>
        <p:guide pos="5992"/>
        <p:guide pos="5268"/>
        <p:guide pos="52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commentAuthors" Target="commentAuthors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" Target="slides/slide1.xml"/><Relationship Id="rId8" Type="http://schemas.openxmlformats.org/officeDocument/2006/relationships/notesMaster" Target="notesMasters/notesMaster1.xml"/><Relationship Id="rId9" Type="http://schemas.openxmlformats.org/officeDocument/2006/relationships/handoutMaster" Target="handoutMasters/handoutMaster1.xml"/><Relationship Id="rId1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93663" y="601663"/>
            <a:ext cx="7510463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8848808" y="6661269"/>
            <a:ext cx="71529" cy="153809"/>
          </a:xfrm>
          <a:ln/>
        </p:spPr>
        <p:txBody>
          <a:bodyPr/>
          <a:lstStyle/>
          <a:p>
            <a:fld id="{798CDF45-D664-4E00-849C-2678E87614C7}" type="slidenum">
              <a:rPr lang="en-US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91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897063" y="436563"/>
            <a:ext cx="5430837" cy="3055937"/>
          </a:xfrm>
          <a:ln/>
        </p:spPr>
      </p:sp>
      <p:sp>
        <p:nvSpPr>
          <p:cNvPr id="4915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53522" y="3737091"/>
            <a:ext cx="7838994" cy="24609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052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e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2.emf"/><Relationship Id="rId6" Type="http://schemas.openxmlformats.org/officeDocument/2006/relationships/image" Target="../media/image7.jpeg"/><Relationship Id="rId7" Type="http://schemas.openxmlformats.org/officeDocument/2006/relationships/image" Target="../media/image8.png"/><Relationship Id="rId1" Type="http://schemas.openxmlformats.org/officeDocument/2006/relationships/vmlDrawing" Target="../drawings/vmlDrawing10.vml"/><Relationship Id="rId2" Type="http://schemas.openxmlformats.org/officeDocument/2006/relationships/tags" Target="../tags/tag6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2.emf"/><Relationship Id="rId6" Type="http://schemas.openxmlformats.org/officeDocument/2006/relationships/image" Target="../media/image9.jpeg"/><Relationship Id="rId7" Type="http://schemas.openxmlformats.org/officeDocument/2006/relationships/image" Target="../media/image8.png"/><Relationship Id="rId1" Type="http://schemas.openxmlformats.org/officeDocument/2006/relationships/vmlDrawing" Target="../drawings/vmlDrawing11.vml"/><Relationship Id="rId2" Type="http://schemas.openxmlformats.org/officeDocument/2006/relationships/tags" Target="../tags/tag6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2.emf"/><Relationship Id="rId6" Type="http://schemas.openxmlformats.org/officeDocument/2006/relationships/image" Target="../media/image10.jpeg"/><Relationship Id="rId7" Type="http://schemas.openxmlformats.org/officeDocument/2006/relationships/image" Target="../media/image11.png"/><Relationship Id="rId1" Type="http://schemas.openxmlformats.org/officeDocument/2006/relationships/vmlDrawing" Target="../drawings/vmlDrawing12.vml"/><Relationship Id="rId2" Type="http://schemas.openxmlformats.org/officeDocument/2006/relationships/tags" Target="../tags/tag6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2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13.emf"/><Relationship Id="rId7" Type="http://schemas.openxmlformats.org/officeDocument/2006/relationships/image" Target="../media/image14.png"/><Relationship Id="rId1" Type="http://schemas.openxmlformats.org/officeDocument/2006/relationships/vmlDrawing" Target="../drawings/vmlDrawing14.vml"/><Relationship Id="rId2" Type="http://schemas.openxmlformats.org/officeDocument/2006/relationships/tags" Target="../tags/tag6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5.bin"/><Relationship Id="rId6" Type="http://schemas.openxmlformats.org/officeDocument/2006/relationships/image" Target="../media/image13.emf"/><Relationship Id="rId1" Type="http://schemas.openxmlformats.org/officeDocument/2006/relationships/vmlDrawing" Target="../drawings/vmlDrawing15.vml"/><Relationship Id="rId2" Type="http://schemas.openxmlformats.org/officeDocument/2006/relationships/tags" Target="../tags/tag7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6.bin"/><Relationship Id="rId6" Type="http://schemas.openxmlformats.org/officeDocument/2006/relationships/image" Target="../media/image13.emf"/><Relationship Id="rId1" Type="http://schemas.openxmlformats.org/officeDocument/2006/relationships/vmlDrawing" Target="../drawings/vmlDrawing16.vml"/><Relationship Id="rId2" Type="http://schemas.openxmlformats.org/officeDocument/2006/relationships/tags" Target="../tags/tag7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tags" Target="../tags/tag75.xml"/><Relationship Id="rId2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tags" Target="../tags/tag76.xml"/><Relationship Id="rId2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7.bin"/><Relationship Id="rId6" Type="http://schemas.openxmlformats.org/officeDocument/2006/relationships/image" Target="../media/image13.emf"/><Relationship Id="rId7" Type="http://schemas.openxmlformats.org/officeDocument/2006/relationships/image" Target="../media/image15.png"/><Relationship Id="rId1" Type="http://schemas.openxmlformats.org/officeDocument/2006/relationships/vmlDrawing" Target="../drawings/vmlDrawing17.vml"/><Relationship Id="rId2" Type="http://schemas.openxmlformats.org/officeDocument/2006/relationships/tags" Target="../tags/tag7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8.bin"/><Relationship Id="rId6" Type="http://schemas.openxmlformats.org/officeDocument/2006/relationships/image" Target="../media/image13.emf"/><Relationship Id="rId7" Type="http://schemas.openxmlformats.org/officeDocument/2006/relationships/image" Target="../media/image15.png"/><Relationship Id="rId1" Type="http://schemas.openxmlformats.org/officeDocument/2006/relationships/vmlDrawing" Target="../drawings/vmlDrawing18.vml"/><Relationship Id="rId2" Type="http://schemas.openxmlformats.org/officeDocument/2006/relationships/tags" Target="../tags/tag7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9.bin"/><Relationship Id="rId6" Type="http://schemas.openxmlformats.org/officeDocument/2006/relationships/image" Target="../media/image13.emf"/><Relationship Id="rId7" Type="http://schemas.openxmlformats.org/officeDocument/2006/relationships/image" Target="../media/image16.png"/><Relationship Id="rId1" Type="http://schemas.openxmlformats.org/officeDocument/2006/relationships/vmlDrawing" Target="../drawings/vmlDrawing19.vml"/><Relationship Id="rId2" Type="http://schemas.openxmlformats.org/officeDocument/2006/relationships/tags" Target="../tags/tag8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20.bin"/><Relationship Id="rId6" Type="http://schemas.openxmlformats.org/officeDocument/2006/relationships/image" Target="../media/image13.emf"/><Relationship Id="rId1" Type="http://schemas.openxmlformats.org/officeDocument/2006/relationships/vmlDrawing" Target="../drawings/vmlDrawing20.vml"/><Relationship Id="rId2" Type="http://schemas.openxmlformats.org/officeDocument/2006/relationships/tags" Target="../tags/tag8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tags" Target="../tags/tag85.xml"/><Relationship Id="rId2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13.emf"/><Relationship Id="rId1" Type="http://schemas.openxmlformats.org/officeDocument/2006/relationships/vmlDrawing" Target="../drawings/vmlDrawing21.vml"/><Relationship Id="rId2" Type="http://schemas.openxmlformats.org/officeDocument/2006/relationships/tags" Target="../tags/tag8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22.bin"/><Relationship Id="rId6" Type="http://schemas.openxmlformats.org/officeDocument/2006/relationships/image" Target="../media/image13.emf"/><Relationship Id="rId1" Type="http://schemas.openxmlformats.org/officeDocument/2006/relationships/vmlDrawing" Target="../drawings/vmlDrawing22.vml"/><Relationship Id="rId2" Type="http://schemas.openxmlformats.org/officeDocument/2006/relationships/tags" Target="../tags/tag8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7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8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4.vml"/><Relationship Id="rId2" Type="http://schemas.openxmlformats.org/officeDocument/2006/relationships/tags" Target="../tags/tag2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tags" Target="../tags/tag90.xml"/><Relationship Id="rId2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3.jpeg"/><Relationship Id="rId5" Type="http://schemas.openxmlformats.org/officeDocument/2006/relationships/oleObject" Target="../embeddings/oleObject2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4.vml"/><Relationship Id="rId2" Type="http://schemas.openxmlformats.org/officeDocument/2006/relationships/tags" Target="../tags/tag108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2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5.vml"/><Relationship Id="rId2" Type="http://schemas.openxmlformats.org/officeDocument/2006/relationships/tags" Target="../tags/tag10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26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26.vml"/><Relationship Id="rId2" Type="http://schemas.openxmlformats.org/officeDocument/2006/relationships/tags" Target="../tags/tag11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27.vml"/><Relationship Id="rId2" Type="http://schemas.openxmlformats.org/officeDocument/2006/relationships/tags" Target="../tags/tag11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28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1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4" Type="http://schemas.openxmlformats.org/officeDocument/2006/relationships/slideMaster" Target="../slideMasters/slideMaster5.xml"/><Relationship Id="rId5" Type="http://schemas.openxmlformats.org/officeDocument/2006/relationships/image" Target="../media/image20.jpg"/><Relationship Id="rId6" Type="http://schemas.openxmlformats.org/officeDocument/2006/relationships/oleObject" Target="../embeddings/oleObject30.bin"/><Relationship Id="rId7" Type="http://schemas.openxmlformats.org/officeDocument/2006/relationships/image" Target="../media/image2.emf"/><Relationship Id="rId8" Type="http://schemas.openxmlformats.org/officeDocument/2006/relationships/image" Target="../media/image3.jpeg"/><Relationship Id="rId9" Type="http://schemas.openxmlformats.org/officeDocument/2006/relationships/oleObject" Target="../embeddings/oleObject31.bin"/><Relationship Id="rId1" Type="http://schemas.openxmlformats.org/officeDocument/2006/relationships/vmlDrawing" Target="../drawings/vmlDrawing30.vml"/><Relationship Id="rId2" Type="http://schemas.openxmlformats.org/officeDocument/2006/relationships/tags" Target="../tags/tag14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4" Type="http://schemas.openxmlformats.org/officeDocument/2006/relationships/tags" Target="../tags/tag152.xml"/><Relationship Id="rId5" Type="http://schemas.openxmlformats.org/officeDocument/2006/relationships/slideMaster" Target="../slideMasters/slideMaster5.xml"/><Relationship Id="rId6" Type="http://schemas.openxmlformats.org/officeDocument/2006/relationships/oleObject" Target="../embeddings/oleObject32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5.vml"/><Relationship Id="rId2" Type="http://schemas.openxmlformats.org/officeDocument/2006/relationships/tags" Target="../tags/tag24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4" Type="http://schemas.openxmlformats.org/officeDocument/2006/relationships/tags" Target="../tags/tag155.xml"/><Relationship Id="rId5" Type="http://schemas.openxmlformats.org/officeDocument/2006/relationships/slideMaster" Target="../slideMasters/slideMaster5.xml"/><Relationship Id="rId6" Type="http://schemas.openxmlformats.org/officeDocument/2006/relationships/oleObject" Target="../embeddings/oleObject33.bin"/><Relationship Id="rId7" Type="http://schemas.openxmlformats.org/officeDocument/2006/relationships/image" Target="../media/image5.emf"/><Relationship Id="rId1" Type="http://schemas.openxmlformats.org/officeDocument/2006/relationships/vmlDrawing" Target="../drawings/vmlDrawing32.vml"/><Relationship Id="rId2" Type="http://schemas.openxmlformats.org/officeDocument/2006/relationships/tags" Target="../tags/tag15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image" Target="../media/image21.jpg"/><Relationship Id="rId5" Type="http://schemas.openxmlformats.org/officeDocument/2006/relationships/oleObject" Target="../embeddings/oleObject3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34.vml"/><Relationship Id="rId2" Type="http://schemas.openxmlformats.org/officeDocument/2006/relationships/tags" Target="../tags/tag18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tags" Target="../tags/tag189.xml"/><Relationship Id="rId2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tags" Target="../tags/tag190.xml"/><Relationship Id="rId2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6.vml"/><Relationship Id="rId2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6.jpeg"/><Relationship Id="rId5" Type="http://schemas.openxmlformats.org/officeDocument/2006/relationships/oleObject" Target="../embeddings/oleObject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4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45.xml"/><Relationship Id="rId2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9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-8441"/>
            <a:ext cx="11944798" cy="6729919"/>
          </a:xfrm>
          <a:prstGeom prst="rect">
            <a:avLst/>
          </a:prstGeom>
        </p:spPr>
      </p:pic>
      <p:sp>
        <p:nvSpPr>
          <p:cNvPr id="18" name="Freeform 17"/>
          <p:cNvSpPr/>
          <p:nvPr userDrawn="1"/>
        </p:nvSpPr>
        <p:spPr bwMode="gray">
          <a:xfrm>
            <a:off x="0" y="-8441"/>
            <a:ext cx="8051548" cy="6729919"/>
          </a:xfrm>
          <a:custGeom>
            <a:avLst/>
            <a:gdLst>
              <a:gd name="connsiteX0" fmla="*/ 0 w 6037592"/>
              <a:gd name="connsiteY0" fmla="*/ 0 h 6729919"/>
              <a:gd name="connsiteX1" fmla="*/ 6037592 w 6037592"/>
              <a:gd name="connsiteY1" fmla="*/ 0 h 6729919"/>
              <a:gd name="connsiteX2" fmla="*/ 2134066 w 6037592"/>
              <a:gd name="connsiteY2" fmla="*/ 6729919 h 6729919"/>
              <a:gd name="connsiteX3" fmla="*/ 0 w 6037592"/>
              <a:gd name="connsiteY3" fmla="*/ 6729919 h 672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7592" h="6729919">
                <a:moveTo>
                  <a:pt x="0" y="0"/>
                </a:moveTo>
                <a:lnTo>
                  <a:pt x="6037592" y="0"/>
                </a:lnTo>
                <a:lnTo>
                  <a:pt x="2134066" y="6729919"/>
                </a:lnTo>
                <a:lnTo>
                  <a:pt x="0" y="672991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29">
              <a:solidFill>
                <a:srgbClr val="FFFFFF"/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 flipH="1">
            <a:off x="3750995" y="-8441"/>
            <a:ext cx="4029569" cy="5228141"/>
          </a:xfrm>
          <a:prstGeom prst="line">
            <a:avLst/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Freeform 20"/>
          <p:cNvSpPr>
            <a:spLocks/>
          </p:cNvSpPr>
          <p:nvPr userDrawn="1"/>
        </p:nvSpPr>
        <p:spPr bwMode="gray">
          <a:xfrm>
            <a:off x="8959389" y="2842811"/>
            <a:ext cx="2991311" cy="3878664"/>
          </a:xfrm>
          <a:custGeom>
            <a:avLst/>
            <a:gdLst>
              <a:gd name="connsiteX0" fmla="*/ 2243086 w 2243086"/>
              <a:gd name="connsiteY0" fmla="*/ 0 h 3878664"/>
              <a:gd name="connsiteX1" fmla="*/ 2243086 w 2243086"/>
              <a:gd name="connsiteY1" fmla="*/ 3878664 h 3878664"/>
              <a:gd name="connsiteX2" fmla="*/ 0 w 2243086"/>
              <a:gd name="connsiteY2" fmla="*/ 3878664 h 387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3086" h="3878664">
                <a:moveTo>
                  <a:pt x="2243086" y="0"/>
                </a:moveTo>
                <a:lnTo>
                  <a:pt x="2243086" y="3878664"/>
                </a:lnTo>
                <a:lnTo>
                  <a:pt x="0" y="38786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  <a:noAutofit/>
          </a:bodyPr>
          <a:lstStyle/>
          <a:p>
            <a:pPr defTabSz="896203"/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60546" y="36516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75551" y="246888"/>
            <a:ext cx="5462487" cy="99719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600" b="0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75551" y="3319273"/>
            <a:ext cx="3631858" cy="1692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25"/>
              </a:spcAft>
              <a:defRPr lang="x-none" sz="11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gray">
          <a:xfrm>
            <a:off x="475551" y="6062473"/>
            <a:ext cx="243883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r>
              <a:rPr lang="en-GB" sz="600" dirty="0">
                <a:solidFill>
                  <a:srgbClr val="FFFFFF">
                    <a:alpha val="50000"/>
                  </a:srgbClr>
                </a:solidFill>
                <a:latin typeface="Arial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5552" y="5538808"/>
            <a:ext cx="2464939" cy="227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983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0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17"/>
          <a:stretch/>
        </p:blipFill>
        <p:spPr bwMode="gray">
          <a:xfrm>
            <a:off x="1" y="6"/>
            <a:ext cx="11885431" cy="6724649"/>
          </a:xfrm>
          <a:prstGeom prst="rect">
            <a:avLst/>
          </a:prstGeom>
        </p:spPr>
      </p:pic>
      <p:sp>
        <p:nvSpPr>
          <p:cNvPr id="14" name="Freeform 13"/>
          <p:cNvSpPr/>
          <p:nvPr userDrawn="1"/>
        </p:nvSpPr>
        <p:spPr bwMode="gray">
          <a:xfrm>
            <a:off x="0" y="-8441"/>
            <a:ext cx="8051548" cy="6729919"/>
          </a:xfrm>
          <a:custGeom>
            <a:avLst/>
            <a:gdLst>
              <a:gd name="connsiteX0" fmla="*/ 0 w 6037592"/>
              <a:gd name="connsiteY0" fmla="*/ 0 h 6729919"/>
              <a:gd name="connsiteX1" fmla="*/ 6037592 w 6037592"/>
              <a:gd name="connsiteY1" fmla="*/ 0 h 6729919"/>
              <a:gd name="connsiteX2" fmla="*/ 2134066 w 6037592"/>
              <a:gd name="connsiteY2" fmla="*/ 6729919 h 6729919"/>
              <a:gd name="connsiteX3" fmla="*/ 0 w 6037592"/>
              <a:gd name="connsiteY3" fmla="*/ 6729919 h 672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7592" h="6729919">
                <a:moveTo>
                  <a:pt x="0" y="0"/>
                </a:moveTo>
                <a:lnTo>
                  <a:pt x="6037592" y="0"/>
                </a:lnTo>
                <a:lnTo>
                  <a:pt x="2134066" y="6729919"/>
                </a:lnTo>
                <a:lnTo>
                  <a:pt x="0" y="672991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29">
              <a:solidFill>
                <a:srgbClr val="FFFFFF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 flipH="1">
            <a:off x="3750995" y="-8441"/>
            <a:ext cx="4029569" cy="5228141"/>
          </a:xfrm>
          <a:prstGeom prst="line">
            <a:avLst/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60546" y="36516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75551" y="246888"/>
            <a:ext cx="5462487" cy="99719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600" b="0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75551" y="3319273"/>
            <a:ext cx="3631858" cy="1692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25"/>
              </a:spcAft>
              <a:defRPr lang="x-none" sz="11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gray">
          <a:xfrm>
            <a:off x="475551" y="6062473"/>
            <a:ext cx="243883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r>
              <a:rPr lang="en-GB" sz="600" dirty="0">
                <a:solidFill>
                  <a:srgbClr val="FFFFFF">
                    <a:alpha val="50000"/>
                  </a:srgbClr>
                </a:solidFill>
                <a:latin typeface="Arial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5552" y="5538808"/>
            <a:ext cx="2464939" cy="227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458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0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 userDrawn="1"/>
        </p:nvSpPr>
        <p:spPr bwMode="gray">
          <a:xfrm>
            <a:off x="11260546" y="36516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75551" y="246888"/>
            <a:ext cx="5462487" cy="99719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6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75551" y="3319273"/>
            <a:ext cx="3631858" cy="1692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25"/>
              </a:spcAft>
              <a:defRPr lang="x-none" sz="1100" cap="none" baseline="0">
                <a:solidFill>
                  <a:schemeClr val="accent4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gray">
          <a:xfrm>
            <a:off x="475552" y="6062472"/>
            <a:ext cx="3017413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600" dirty="0">
                <a:solidFill>
                  <a:srgbClr val="FFFFFF">
                    <a:alpha val="50000"/>
                  </a:srgbClr>
                </a:solidFill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475551" y="6089576"/>
            <a:ext cx="243883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GB" sz="600" dirty="0">
                <a:solidFill>
                  <a:srgbClr val="002960">
                    <a:alpha val="50000"/>
                  </a:srgbClr>
                </a:solidFill>
                <a:latin typeface="Arial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72"/>
          <a:stretch/>
        </p:blipFill>
        <p:spPr bwMode="gray">
          <a:xfrm>
            <a:off x="5949621" y="1"/>
            <a:ext cx="6001080" cy="6724650"/>
          </a:xfrm>
          <a:prstGeom prst="rect">
            <a:avLst/>
          </a:prstGeom>
        </p:spPr>
      </p:pic>
      <p:pic>
        <p:nvPicPr>
          <p:cNvPr id="11" name="Picture 10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5552" y="5541265"/>
            <a:ext cx="2464939" cy="227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45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06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551" y="246889"/>
            <a:ext cx="10970955" cy="30777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21440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600" smtClean="0">
                <a:solidFill>
                  <a:srgbClr val="00ADEF"/>
                </a:solidFill>
              </a:rPr>
              <a:pPr/>
              <a:t>‹#›</a:t>
            </a:fld>
            <a:endParaRPr sz="600" dirty="0">
              <a:solidFill>
                <a:srgbClr val="00ADEF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9034" y="50801"/>
            <a:ext cx="1166565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11526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08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35"/>
            <a:ext cx="11950700" cy="6720840"/>
          </a:xfrm>
          <a:prstGeom prst="rect">
            <a:avLst/>
          </a:prstGeom>
        </p:spPr>
      </p:pic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21440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600" smtClean="0">
                <a:solidFill>
                  <a:srgbClr val="00ADEF"/>
                </a:solidFill>
              </a:rPr>
              <a:pPr/>
              <a:t>‹#›</a:t>
            </a:fld>
            <a:endParaRPr sz="600" dirty="0">
              <a:solidFill>
                <a:srgbClr val="00ADE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10459034" y="50801"/>
            <a:ext cx="1166565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86973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11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9034" y="50801"/>
            <a:ext cx="1166565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551" y="1619251"/>
            <a:ext cx="9120574" cy="1243930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"/>
          <p:cNvSpPr txBox="1">
            <a:spLocks/>
          </p:cNvSpPr>
          <p:nvPr userDrawn="1"/>
        </p:nvSpPr>
        <p:spPr bwMode="gray">
          <a:xfrm>
            <a:off x="11421440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600" smtClean="0">
                <a:solidFill>
                  <a:srgbClr val="00ADEF"/>
                </a:solidFill>
              </a:rPr>
              <a:pPr/>
              <a:t>‹#›</a:t>
            </a:fld>
            <a:endParaRPr sz="600" dirty="0">
              <a:solidFill>
                <a:srgbClr val="00ADEF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8893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3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9034" y="50801"/>
            <a:ext cx="1166565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553" y="1619251"/>
            <a:ext cx="5305127" cy="1243930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"/>
          <p:cNvSpPr txBox="1">
            <a:spLocks/>
          </p:cNvSpPr>
          <p:nvPr userDrawn="1"/>
        </p:nvSpPr>
        <p:spPr bwMode="gray">
          <a:xfrm>
            <a:off x="11421440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600" smtClean="0">
                <a:solidFill>
                  <a:srgbClr val="00ADEF"/>
                </a:solidFill>
              </a:rPr>
              <a:pPr/>
              <a:t>‹#›</a:t>
            </a:fld>
            <a:endParaRPr sz="600" dirty="0">
              <a:solidFill>
                <a:srgbClr val="00ADE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938039" y="1619251"/>
            <a:ext cx="5348998" cy="1243930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20156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552" y="246888"/>
            <a:ext cx="5462487" cy="997196"/>
          </a:xfrm>
        </p:spPr>
        <p:txBody>
          <a:bodyPr/>
          <a:lstStyle>
            <a:lvl1pPr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gray">
          <a:xfrm>
            <a:off x="11421440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600" smtClean="0">
                <a:solidFill>
                  <a:srgbClr val="00ADEF"/>
                </a:solidFill>
              </a:rPr>
              <a:pPr/>
              <a:t>‹#›</a:t>
            </a:fld>
            <a:endParaRPr sz="600" dirty="0">
              <a:solidFill>
                <a:srgbClr val="00ADEF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678354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552" y="246888"/>
            <a:ext cx="5462487" cy="997196"/>
          </a:xfrm>
        </p:spPr>
        <p:txBody>
          <a:bodyPr/>
          <a:lstStyle>
            <a:lvl1pPr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451913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defTabSz="671870"/>
            <a:fld id="{42C328C1-A84F-4A39-A664-DBA00541A8C6}" type="slidenum">
              <a:rPr sz="600" smtClean="0">
                <a:solidFill>
                  <a:srgbClr val="00ADEF"/>
                </a:solidFill>
              </a:rPr>
              <a:pPr algn="r" defTabSz="671870"/>
              <a:t>‹#›</a:t>
            </a:fld>
            <a:endParaRPr sz="600" dirty="0">
              <a:solidFill>
                <a:srgbClr val="00ADEF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3728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5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1139" y="1"/>
            <a:ext cx="11951839" cy="6721475"/>
          </a:xfrm>
          <a:prstGeom prst="rect">
            <a:avLst/>
          </a:prstGeom>
        </p:spPr>
      </p:pic>
      <p:sp>
        <p:nvSpPr>
          <p:cNvPr id="12" name="Freeform 11"/>
          <p:cNvSpPr/>
          <p:nvPr userDrawn="1"/>
        </p:nvSpPr>
        <p:spPr bwMode="gray">
          <a:xfrm>
            <a:off x="-1139" y="317"/>
            <a:ext cx="8577103" cy="6720840"/>
          </a:xfrm>
          <a:custGeom>
            <a:avLst/>
            <a:gdLst>
              <a:gd name="connsiteX0" fmla="*/ 0 w 6431688"/>
              <a:gd name="connsiteY0" fmla="*/ 0 h 6728033"/>
              <a:gd name="connsiteX1" fmla="*/ 6431688 w 6431688"/>
              <a:gd name="connsiteY1" fmla="*/ 0 h 6728033"/>
              <a:gd name="connsiteX2" fmla="*/ 2558866 w 6431688"/>
              <a:gd name="connsiteY2" fmla="*/ 6724856 h 6728033"/>
              <a:gd name="connsiteX3" fmla="*/ 2557569 w 6431688"/>
              <a:gd name="connsiteY3" fmla="*/ 6724856 h 6728033"/>
              <a:gd name="connsiteX4" fmla="*/ 2557569 w 6431688"/>
              <a:gd name="connsiteY4" fmla="*/ 6728033 h 6728033"/>
              <a:gd name="connsiteX5" fmla="*/ 799248 w 6431688"/>
              <a:gd name="connsiteY5" fmla="*/ 6728033 h 6728033"/>
              <a:gd name="connsiteX6" fmla="*/ 5616 w 6431688"/>
              <a:gd name="connsiteY6" fmla="*/ 6728033 h 6728033"/>
              <a:gd name="connsiteX7" fmla="*/ 854 w 6431688"/>
              <a:gd name="connsiteY7" fmla="*/ 6728033 h 6728033"/>
              <a:gd name="connsiteX8" fmla="*/ 854 w 6431688"/>
              <a:gd name="connsiteY8" fmla="*/ 253446 h 6728033"/>
              <a:gd name="connsiteX9" fmla="*/ 0 w 6431688"/>
              <a:gd name="connsiteY9" fmla="*/ 253446 h 6728033"/>
              <a:gd name="connsiteX0" fmla="*/ 0 w 6431688"/>
              <a:gd name="connsiteY0" fmla="*/ 0 h 6728033"/>
              <a:gd name="connsiteX1" fmla="*/ 6431688 w 6431688"/>
              <a:gd name="connsiteY1" fmla="*/ 0 h 6728033"/>
              <a:gd name="connsiteX2" fmla="*/ 2558866 w 6431688"/>
              <a:gd name="connsiteY2" fmla="*/ 6724856 h 6728033"/>
              <a:gd name="connsiteX3" fmla="*/ 2557569 w 6431688"/>
              <a:gd name="connsiteY3" fmla="*/ 6724856 h 6728033"/>
              <a:gd name="connsiteX4" fmla="*/ 2557569 w 6431688"/>
              <a:gd name="connsiteY4" fmla="*/ 6728033 h 6728033"/>
              <a:gd name="connsiteX5" fmla="*/ 5616 w 6431688"/>
              <a:gd name="connsiteY5" fmla="*/ 6728033 h 6728033"/>
              <a:gd name="connsiteX6" fmla="*/ 854 w 6431688"/>
              <a:gd name="connsiteY6" fmla="*/ 6728033 h 6728033"/>
              <a:gd name="connsiteX7" fmla="*/ 854 w 6431688"/>
              <a:gd name="connsiteY7" fmla="*/ 253446 h 6728033"/>
              <a:gd name="connsiteX8" fmla="*/ 0 w 6431688"/>
              <a:gd name="connsiteY8" fmla="*/ 253446 h 6728033"/>
              <a:gd name="connsiteX9" fmla="*/ 0 w 6431688"/>
              <a:gd name="connsiteY9" fmla="*/ 0 h 6728033"/>
              <a:gd name="connsiteX0" fmla="*/ 0 w 6431688"/>
              <a:gd name="connsiteY0" fmla="*/ 0 h 6728033"/>
              <a:gd name="connsiteX1" fmla="*/ 6431688 w 6431688"/>
              <a:gd name="connsiteY1" fmla="*/ 0 h 6728033"/>
              <a:gd name="connsiteX2" fmla="*/ 2558866 w 6431688"/>
              <a:gd name="connsiteY2" fmla="*/ 6724856 h 6728033"/>
              <a:gd name="connsiteX3" fmla="*/ 2557569 w 6431688"/>
              <a:gd name="connsiteY3" fmla="*/ 6724856 h 6728033"/>
              <a:gd name="connsiteX4" fmla="*/ 5616 w 6431688"/>
              <a:gd name="connsiteY4" fmla="*/ 6728033 h 6728033"/>
              <a:gd name="connsiteX5" fmla="*/ 854 w 6431688"/>
              <a:gd name="connsiteY5" fmla="*/ 6728033 h 6728033"/>
              <a:gd name="connsiteX6" fmla="*/ 854 w 6431688"/>
              <a:gd name="connsiteY6" fmla="*/ 253446 h 6728033"/>
              <a:gd name="connsiteX7" fmla="*/ 0 w 6431688"/>
              <a:gd name="connsiteY7" fmla="*/ 253446 h 6728033"/>
              <a:gd name="connsiteX8" fmla="*/ 0 w 6431688"/>
              <a:gd name="connsiteY8" fmla="*/ 0 h 6728033"/>
              <a:gd name="connsiteX0" fmla="*/ 0 w 6431688"/>
              <a:gd name="connsiteY0" fmla="*/ 0 h 6728033"/>
              <a:gd name="connsiteX1" fmla="*/ 6431688 w 6431688"/>
              <a:gd name="connsiteY1" fmla="*/ 0 h 6728033"/>
              <a:gd name="connsiteX2" fmla="*/ 2558866 w 6431688"/>
              <a:gd name="connsiteY2" fmla="*/ 6724856 h 6728033"/>
              <a:gd name="connsiteX3" fmla="*/ 2552806 w 6431688"/>
              <a:gd name="connsiteY3" fmla="*/ 6727237 h 6728033"/>
              <a:gd name="connsiteX4" fmla="*/ 5616 w 6431688"/>
              <a:gd name="connsiteY4" fmla="*/ 6728033 h 6728033"/>
              <a:gd name="connsiteX5" fmla="*/ 854 w 6431688"/>
              <a:gd name="connsiteY5" fmla="*/ 6728033 h 6728033"/>
              <a:gd name="connsiteX6" fmla="*/ 854 w 6431688"/>
              <a:gd name="connsiteY6" fmla="*/ 253446 h 6728033"/>
              <a:gd name="connsiteX7" fmla="*/ 0 w 6431688"/>
              <a:gd name="connsiteY7" fmla="*/ 253446 h 6728033"/>
              <a:gd name="connsiteX8" fmla="*/ 0 w 6431688"/>
              <a:gd name="connsiteY8" fmla="*/ 0 h 6728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31688" h="6728033">
                <a:moveTo>
                  <a:pt x="0" y="0"/>
                </a:moveTo>
                <a:lnTo>
                  <a:pt x="6431688" y="0"/>
                </a:lnTo>
                <a:lnTo>
                  <a:pt x="2558866" y="6724856"/>
                </a:lnTo>
                <a:lnTo>
                  <a:pt x="2552806" y="6727237"/>
                </a:lnTo>
                <a:lnTo>
                  <a:pt x="5616" y="6728033"/>
                </a:lnTo>
                <a:lnTo>
                  <a:pt x="854" y="6728033"/>
                </a:lnTo>
                <a:lnTo>
                  <a:pt x="854" y="253446"/>
                </a:lnTo>
                <a:lnTo>
                  <a:pt x="0" y="253446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7211" tIns="33605" rIns="67211" bIns="3360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97" dirty="0" err="1">
              <a:solidFill>
                <a:srgbClr val="000000"/>
              </a:solidFill>
            </a:endParaRPr>
          </a:p>
        </p:txBody>
      </p:sp>
      <p:sp>
        <p:nvSpPr>
          <p:cNvPr id="19" name="Freeform 182"/>
          <p:cNvSpPr>
            <a:spLocks/>
          </p:cNvSpPr>
          <p:nvPr userDrawn="1"/>
        </p:nvSpPr>
        <p:spPr bwMode="gray">
          <a:xfrm>
            <a:off x="1" y="4727389"/>
            <a:ext cx="1538399" cy="1994087"/>
          </a:xfrm>
          <a:custGeom>
            <a:avLst/>
            <a:gdLst>
              <a:gd name="T0" fmla="*/ 0 w 496"/>
              <a:gd name="T1" fmla="*/ 0 h 832"/>
              <a:gd name="T2" fmla="*/ 496 w 496"/>
              <a:gd name="T3" fmla="*/ 832 h 832"/>
              <a:gd name="T4" fmla="*/ 0 w 496"/>
              <a:gd name="T5" fmla="*/ 832 h 832"/>
              <a:gd name="T6" fmla="*/ 0 w 496"/>
              <a:gd name="T7" fmla="*/ 0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6" h="832">
                <a:moveTo>
                  <a:pt x="0" y="0"/>
                </a:moveTo>
                <a:lnTo>
                  <a:pt x="496" y="832"/>
                </a:lnTo>
                <a:lnTo>
                  <a:pt x="0" y="8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7211" tIns="33605" rIns="67211" bIns="33605" numCol="1" anchor="t" anchorCtr="0" compatLnSpc="1">
            <a:prstTxWarp prst="textNoShape">
              <a:avLst/>
            </a:prstTxWarp>
          </a:bodyPr>
          <a:lstStyle/>
          <a:p>
            <a:endParaRPr lang="en-US" sz="1297">
              <a:solidFill>
                <a:srgbClr val="000000"/>
              </a:solidFill>
            </a:endParaRPr>
          </a:p>
        </p:txBody>
      </p:sp>
      <p:sp>
        <p:nvSpPr>
          <p:cNvPr id="20" name="Freeform 19"/>
          <p:cNvSpPr>
            <a:spLocks/>
          </p:cNvSpPr>
          <p:nvPr userDrawn="1"/>
        </p:nvSpPr>
        <p:spPr bwMode="gray">
          <a:xfrm>
            <a:off x="8699572" y="2505919"/>
            <a:ext cx="3251129" cy="4215556"/>
          </a:xfrm>
          <a:custGeom>
            <a:avLst/>
            <a:gdLst>
              <a:gd name="connsiteX0" fmla="*/ 2243086 w 2243086"/>
              <a:gd name="connsiteY0" fmla="*/ 0 h 3878664"/>
              <a:gd name="connsiteX1" fmla="*/ 2243086 w 2243086"/>
              <a:gd name="connsiteY1" fmla="*/ 3878664 h 3878664"/>
              <a:gd name="connsiteX2" fmla="*/ 0 w 2243086"/>
              <a:gd name="connsiteY2" fmla="*/ 3878664 h 387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43086" h="3878664">
                <a:moveTo>
                  <a:pt x="2243086" y="0"/>
                </a:moveTo>
                <a:lnTo>
                  <a:pt x="2243086" y="3878664"/>
                </a:lnTo>
                <a:lnTo>
                  <a:pt x="0" y="38786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  <a:noAutofit/>
          </a:bodyPr>
          <a:lstStyle/>
          <a:p>
            <a:pPr defTabSz="896203"/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7" name="Slide Number"/>
          <p:cNvSpPr txBox="1">
            <a:spLocks/>
          </p:cNvSpPr>
          <p:nvPr userDrawn="1"/>
        </p:nvSpPr>
        <p:spPr bwMode="gray">
          <a:xfrm>
            <a:off x="11451913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defTabSz="671870"/>
            <a:fld id="{42C328C1-A84F-4A39-A664-DBA00541A8C6}" type="slidenum">
              <a:rPr sz="600" smtClean="0">
                <a:solidFill>
                  <a:srgbClr val="00ADEF"/>
                </a:solidFill>
              </a:rPr>
              <a:pPr algn="r" defTabSz="671870"/>
              <a:t>‹#›</a:t>
            </a:fld>
            <a:endParaRPr sz="600" dirty="0">
              <a:solidFill>
                <a:srgbClr val="00ADE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75552" y="246888"/>
            <a:ext cx="5462487" cy="997196"/>
          </a:xfrm>
        </p:spPr>
        <p:txBody>
          <a:bodyPr/>
          <a:lstStyle>
            <a:lvl1pPr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1204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14760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17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18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1139" y="1"/>
            <a:ext cx="11951839" cy="6721475"/>
          </a:xfrm>
          <a:prstGeom prst="rect">
            <a:avLst/>
          </a:prstGeom>
        </p:spPr>
      </p:pic>
      <p:sp>
        <p:nvSpPr>
          <p:cNvPr id="15" name="Freeform 14"/>
          <p:cNvSpPr/>
          <p:nvPr userDrawn="1"/>
        </p:nvSpPr>
        <p:spPr bwMode="gray">
          <a:xfrm>
            <a:off x="1" y="319"/>
            <a:ext cx="11950700" cy="6721157"/>
          </a:xfrm>
          <a:custGeom>
            <a:avLst/>
            <a:gdLst>
              <a:gd name="connsiteX0" fmla="*/ 0 w 8965897"/>
              <a:gd name="connsiteY0" fmla="*/ 0 h 6721157"/>
              <a:gd name="connsiteX1" fmla="*/ 8965897 w 8965897"/>
              <a:gd name="connsiteY1" fmla="*/ 1 h 6721157"/>
              <a:gd name="connsiteX2" fmla="*/ 8965897 w 8965897"/>
              <a:gd name="connsiteY2" fmla="*/ 2482595 h 6721157"/>
              <a:gd name="connsiteX3" fmla="*/ 6533909 w 8965897"/>
              <a:gd name="connsiteY3" fmla="*/ 6721157 h 6721157"/>
              <a:gd name="connsiteX4" fmla="*/ 0 w 8965897"/>
              <a:gd name="connsiteY4" fmla="*/ 6721157 h 6721157"/>
              <a:gd name="connsiteX0" fmla="*/ 0 w 8965897"/>
              <a:gd name="connsiteY0" fmla="*/ 0 h 6721157"/>
              <a:gd name="connsiteX1" fmla="*/ 8965897 w 8965897"/>
              <a:gd name="connsiteY1" fmla="*/ 1 h 6721157"/>
              <a:gd name="connsiteX2" fmla="*/ 8965897 w 8965897"/>
              <a:gd name="connsiteY2" fmla="*/ 2499957 h 6721157"/>
              <a:gd name="connsiteX3" fmla="*/ 6533909 w 8965897"/>
              <a:gd name="connsiteY3" fmla="*/ 6721157 h 6721157"/>
              <a:gd name="connsiteX4" fmla="*/ 0 w 8965897"/>
              <a:gd name="connsiteY4" fmla="*/ 6721157 h 6721157"/>
              <a:gd name="connsiteX5" fmla="*/ 0 w 8965897"/>
              <a:gd name="connsiteY5" fmla="*/ 0 h 6721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65897" h="6721157">
                <a:moveTo>
                  <a:pt x="0" y="0"/>
                </a:moveTo>
                <a:lnTo>
                  <a:pt x="8965897" y="1"/>
                </a:lnTo>
                <a:lnTo>
                  <a:pt x="8965897" y="2499957"/>
                </a:lnTo>
                <a:lnTo>
                  <a:pt x="6533909" y="6721157"/>
                </a:lnTo>
                <a:lnTo>
                  <a:pt x="0" y="6721157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6" name="Freeform 15"/>
          <p:cNvSpPr/>
          <p:nvPr userDrawn="1"/>
        </p:nvSpPr>
        <p:spPr bwMode="gray">
          <a:xfrm>
            <a:off x="10183424" y="1"/>
            <a:ext cx="1767276" cy="3353693"/>
          </a:xfrm>
          <a:custGeom>
            <a:avLst/>
            <a:gdLst>
              <a:gd name="connsiteX0" fmla="*/ 0 w 1325222"/>
              <a:gd name="connsiteY0" fmla="*/ 0 h 3353693"/>
              <a:gd name="connsiteX1" fmla="*/ 172792 w 1325222"/>
              <a:gd name="connsiteY1" fmla="*/ 0 h 3353693"/>
              <a:gd name="connsiteX2" fmla="*/ 1325222 w 1325222"/>
              <a:gd name="connsiteY2" fmla="*/ 0 h 3353693"/>
              <a:gd name="connsiteX3" fmla="*/ 1325222 w 1325222"/>
              <a:gd name="connsiteY3" fmla="*/ 3353693 h 3353693"/>
              <a:gd name="connsiteX4" fmla="*/ 172792 w 1325222"/>
              <a:gd name="connsiteY4" fmla="*/ 1346762 h 3353693"/>
              <a:gd name="connsiteX5" fmla="*/ 0 w 1325222"/>
              <a:gd name="connsiteY5" fmla="*/ 1050586 h 3353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5222" h="3353693">
                <a:moveTo>
                  <a:pt x="0" y="0"/>
                </a:moveTo>
                <a:lnTo>
                  <a:pt x="172792" y="0"/>
                </a:lnTo>
                <a:lnTo>
                  <a:pt x="1325222" y="0"/>
                </a:lnTo>
                <a:lnTo>
                  <a:pt x="1325222" y="3353693"/>
                </a:lnTo>
                <a:lnTo>
                  <a:pt x="172792" y="1346762"/>
                </a:lnTo>
                <a:lnTo>
                  <a:pt x="0" y="1050586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552" y="246888"/>
            <a:ext cx="9120572" cy="307777"/>
          </a:xfrm>
        </p:spPr>
        <p:txBody>
          <a:bodyPr wrap="square">
            <a:spAutoFit/>
          </a:bodyPr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9034" y="50801"/>
            <a:ext cx="1166565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51913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defTabSz="671870"/>
            <a:fld id="{42C328C1-A84F-4A39-A664-DBA00541A8C6}" type="slidenum">
              <a:rPr sz="600" smtClean="0">
                <a:solidFill>
                  <a:srgbClr val="00ADEF"/>
                </a:solidFill>
              </a:rPr>
              <a:pPr algn="r" defTabSz="671870"/>
              <a:t>‹#›</a:t>
            </a:fld>
            <a:endParaRPr sz="600" dirty="0">
              <a:solidFill>
                <a:srgbClr val="00ADE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 bwMode="gray">
          <a:xfrm>
            <a:off x="475551" y="1619251"/>
            <a:ext cx="9120574" cy="1243930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032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20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-6558"/>
            <a:ext cx="11948456" cy="6728033"/>
          </a:xfrm>
          <a:prstGeom prst="rect">
            <a:avLst/>
          </a:prstGeom>
        </p:spPr>
      </p:pic>
      <p:sp>
        <p:nvSpPr>
          <p:cNvPr id="18" name="Freeform 17"/>
          <p:cNvSpPr/>
          <p:nvPr userDrawn="1"/>
        </p:nvSpPr>
        <p:spPr bwMode="gray">
          <a:xfrm>
            <a:off x="1" y="319"/>
            <a:ext cx="11950700" cy="6721157"/>
          </a:xfrm>
          <a:custGeom>
            <a:avLst/>
            <a:gdLst>
              <a:gd name="connsiteX0" fmla="*/ 0 w 8965897"/>
              <a:gd name="connsiteY0" fmla="*/ 0 h 6721157"/>
              <a:gd name="connsiteX1" fmla="*/ 8965897 w 8965897"/>
              <a:gd name="connsiteY1" fmla="*/ 1 h 6721157"/>
              <a:gd name="connsiteX2" fmla="*/ 8965897 w 8965897"/>
              <a:gd name="connsiteY2" fmla="*/ 2482595 h 6721157"/>
              <a:gd name="connsiteX3" fmla="*/ 6533909 w 8965897"/>
              <a:gd name="connsiteY3" fmla="*/ 6721157 h 6721157"/>
              <a:gd name="connsiteX4" fmla="*/ 0 w 8965897"/>
              <a:gd name="connsiteY4" fmla="*/ 6721157 h 6721157"/>
              <a:gd name="connsiteX0" fmla="*/ 0 w 8965897"/>
              <a:gd name="connsiteY0" fmla="*/ 0 h 6721157"/>
              <a:gd name="connsiteX1" fmla="*/ 8965897 w 8965897"/>
              <a:gd name="connsiteY1" fmla="*/ 1 h 6721157"/>
              <a:gd name="connsiteX2" fmla="*/ 8965897 w 8965897"/>
              <a:gd name="connsiteY2" fmla="*/ 2499957 h 6721157"/>
              <a:gd name="connsiteX3" fmla="*/ 6533909 w 8965897"/>
              <a:gd name="connsiteY3" fmla="*/ 6721157 h 6721157"/>
              <a:gd name="connsiteX4" fmla="*/ 0 w 8965897"/>
              <a:gd name="connsiteY4" fmla="*/ 6721157 h 6721157"/>
              <a:gd name="connsiteX5" fmla="*/ 0 w 8965897"/>
              <a:gd name="connsiteY5" fmla="*/ 0 h 6721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65897" h="6721157">
                <a:moveTo>
                  <a:pt x="0" y="0"/>
                </a:moveTo>
                <a:lnTo>
                  <a:pt x="8965897" y="1"/>
                </a:lnTo>
                <a:lnTo>
                  <a:pt x="8965897" y="2499957"/>
                </a:lnTo>
                <a:lnTo>
                  <a:pt x="6533909" y="6721157"/>
                </a:lnTo>
                <a:lnTo>
                  <a:pt x="0" y="672115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19" name="Freeform 18"/>
          <p:cNvSpPr/>
          <p:nvPr userDrawn="1"/>
        </p:nvSpPr>
        <p:spPr bwMode="gray">
          <a:xfrm>
            <a:off x="10183424" y="1"/>
            <a:ext cx="1767276" cy="3353693"/>
          </a:xfrm>
          <a:custGeom>
            <a:avLst/>
            <a:gdLst>
              <a:gd name="connsiteX0" fmla="*/ 0 w 1325222"/>
              <a:gd name="connsiteY0" fmla="*/ 0 h 3353693"/>
              <a:gd name="connsiteX1" fmla="*/ 172792 w 1325222"/>
              <a:gd name="connsiteY1" fmla="*/ 0 h 3353693"/>
              <a:gd name="connsiteX2" fmla="*/ 1325222 w 1325222"/>
              <a:gd name="connsiteY2" fmla="*/ 0 h 3353693"/>
              <a:gd name="connsiteX3" fmla="*/ 1325222 w 1325222"/>
              <a:gd name="connsiteY3" fmla="*/ 3353693 h 3353693"/>
              <a:gd name="connsiteX4" fmla="*/ 172792 w 1325222"/>
              <a:gd name="connsiteY4" fmla="*/ 1346762 h 3353693"/>
              <a:gd name="connsiteX5" fmla="*/ 0 w 1325222"/>
              <a:gd name="connsiteY5" fmla="*/ 1050586 h 3353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5222" h="3353693">
                <a:moveTo>
                  <a:pt x="0" y="0"/>
                </a:moveTo>
                <a:lnTo>
                  <a:pt x="172792" y="0"/>
                </a:lnTo>
                <a:lnTo>
                  <a:pt x="1325222" y="0"/>
                </a:lnTo>
                <a:lnTo>
                  <a:pt x="1325222" y="3353693"/>
                </a:lnTo>
                <a:lnTo>
                  <a:pt x="172792" y="1346762"/>
                </a:lnTo>
                <a:lnTo>
                  <a:pt x="0" y="1050586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553" y="246888"/>
            <a:ext cx="9120574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9034" y="50801"/>
            <a:ext cx="1166565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51913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defTabSz="671870"/>
            <a:fld id="{42C328C1-A84F-4A39-A664-DBA00541A8C6}" type="slidenum">
              <a:rPr sz="600" smtClean="0">
                <a:solidFill>
                  <a:srgbClr val="00ADEF"/>
                </a:solidFill>
              </a:rPr>
              <a:pPr algn="r" defTabSz="671870"/>
              <a:t>‹#›</a:t>
            </a:fld>
            <a:endParaRPr sz="600" dirty="0">
              <a:solidFill>
                <a:srgbClr val="00ADE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476314" y="1619251"/>
            <a:ext cx="9119811" cy="12439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67952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23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1"/>
          <p:cNvSpPr>
            <a:spLocks/>
          </p:cNvSpPr>
          <p:nvPr userDrawn="1"/>
        </p:nvSpPr>
        <p:spPr bwMode="gray">
          <a:xfrm>
            <a:off x="4486202" y="4"/>
            <a:ext cx="7464499" cy="6718239"/>
          </a:xfrm>
          <a:custGeom>
            <a:avLst/>
            <a:gdLst>
              <a:gd name="connsiteX0" fmla="*/ 0 w 5597383"/>
              <a:gd name="connsiteY0" fmla="*/ 0 h 6718239"/>
              <a:gd name="connsiteX1" fmla="*/ 177800 w 5597383"/>
              <a:gd name="connsiteY1" fmla="*/ 0 h 6718239"/>
              <a:gd name="connsiteX2" fmla="*/ 5419583 w 5597383"/>
              <a:gd name="connsiteY2" fmla="*/ 0 h 6718239"/>
              <a:gd name="connsiteX3" fmla="*/ 5597383 w 5597383"/>
              <a:gd name="connsiteY3" fmla="*/ 0 h 6718239"/>
              <a:gd name="connsiteX4" fmla="*/ 5597383 w 5597383"/>
              <a:gd name="connsiteY4" fmla="*/ 6718239 h 6718239"/>
              <a:gd name="connsiteX5" fmla="*/ 5419583 w 5597383"/>
              <a:gd name="connsiteY5" fmla="*/ 6718239 h 6718239"/>
              <a:gd name="connsiteX6" fmla="*/ 186984 w 5597383"/>
              <a:gd name="connsiteY6" fmla="*/ 6718239 h 6718239"/>
              <a:gd name="connsiteX7" fmla="*/ 9184 w 5597383"/>
              <a:gd name="connsiteY7" fmla="*/ 6718239 h 6718239"/>
              <a:gd name="connsiteX8" fmla="*/ 1939094 w 5597383"/>
              <a:gd name="connsiteY8" fmla="*/ 3360782 h 6718239"/>
              <a:gd name="connsiteX9" fmla="*/ 0 w 5597383"/>
              <a:gd name="connsiteY9" fmla="*/ 0 h 6718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597383" h="6718239">
                <a:moveTo>
                  <a:pt x="0" y="0"/>
                </a:moveTo>
                <a:lnTo>
                  <a:pt x="177800" y="0"/>
                </a:lnTo>
                <a:lnTo>
                  <a:pt x="5419583" y="0"/>
                </a:lnTo>
                <a:lnTo>
                  <a:pt x="5597383" y="0"/>
                </a:lnTo>
                <a:lnTo>
                  <a:pt x="5597383" y="6718239"/>
                </a:lnTo>
                <a:lnTo>
                  <a:pt x="5419583" y="6718239"/>
                </a:lnTo>
                <a:lnTo>
                  <a:pt x="186984" y="6718239"/>
                </a:lnTo>
                <a:lnTo>
                  <a:pt x="9184" y="6718239"/>
                </a:lnTo>
                <a:lnTo>
                  <a:pt x="1939094" y="3360782"/>
                </a:lnTo>
                <a:cubicBezTo>
                  <a:pt x="1270832" y="2240521"/>
                  <a:pt x="668262" y="1120261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black">
          <a:xfrm>
            <a:off x="475551" y="246888"/>
            <a:ext cx="10970955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9034" y="50801"/>
            <a:ext cx="1166565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51913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defTabSz="671870"/>
            <a:fld id="{42C328C1-A84F-4A39-A664-DBA00541A8C6}" type="slidenum">
              <a:rPr sz="600" smtClean="0">
                <a:solidFill>
                  <a:srgbClr val="00ADEF"/>
                </a:solidFill>
              </a:rPr>
              <a:pPr algn="r" defTabSz="671870"/>
              <a:t>‹#›</a:t>
            </a:fld>
            <a:endParaRPr sz="600" dirty="0">
              <a:solidFill>
                <a:srgbClr val="00ADE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black">
          <a:xfrm>
            <a:off x="476314" y="1619251"/>
            <a:ext cx="5461726" cy="12439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31215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black">
          <a:xfrm>
            <a:off x="475551" y="246888"/>
            <a:ext cx="10970955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9034" y="50801"/>
            <a:ext cx="1166565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51913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defTabSz="671870"/>
            <a:fld id="{42C328C1-A84F-4A39-A664-DBA00541A8C6}" type="slidenum">
              <a:rPr sz="600" smtClean="0">
                <a:solidFill>
                  <a:srgbClr val="00ADEF"/>
                </a:solidFill>
              </a:rPr>
              <a:pPr algn="r" defTabSz="671870"/>
              <a:t>‹#›</a:t>
            </a:fld>
            <a:endParaRPr sz="600" dirty="0">
              <a:solidFill>
                <a:srgbClr val="00ADE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black">
          <a:xfrm>
            <a:off x="476314" y="1619251"/>
            <a:ext cx="9119811" cy="12439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330398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an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25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invGray">
          <a:xfrm>
            <a:off x="475551" y="246888"/>
            <a:ext cx="10970955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9034" y="50801"/>
            <a:ext cx="1166565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51913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defTabSz="671870"/>
            <a:fld id="{42C328C1-A84F-4A39-A664-DBA00541A8C6}" type="slidenum">
              <a:rPr sz="600" smtClean="0">
                <a:solidFill>
                  <a:srgbClr val="FFFFFF"/>
                </a:solidFill>
              </a:rPr>
              <a:pPr algn="r" defTabSz="671870"/>
              <a:t>‹#›</a:t>
            </a:fld>
            <a:endParaRPr sz="600" dirty="0">
              <a:solidFill>
                <a:srgbClr val="FFFFFF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FFFFF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5703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2278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/>
          <p:cNvSpPr/>
          <p:nvPr userDrawn="1"/>
        </p:nvSpPr>
        <p:spPr>
          <a:xfrm>
            <a:off x="8806036" y="1"/>
            <a:ext cx="3144665" cy="5967513"/>
          </a:xfrm>
          <a:custGeom>
            <a:avLst/>
            <a:gdLst>
              <a:gd name="connsiteX0" fmla="*/ 0 w 1325222"/>
              <a:gd name="connsiteY0" fmla="*/ 0 h 3353693"/>
              <a:gd name="connsiteX1" fmla="*/ 172792 w 1325222"/>
              <a:gd name="connsiteY1" fmla="*/ 0 h 3353693"/>
              <a:gd name="connsiteX2" fmla="*/ 1325222 w 1325222"/>
              <a:gd name="connsiteY2" fmla="*/ 0 h 3353693"/>
              <a:gd name="connsiteX3" fmla="*/ 1325222 w 1325222"/>
              <a:gd name="connsiteY3" fmla="*/ 3353693 h 3353693"/>
              <a:gd name="connsiteX4" fmla="*/ 172792 w 1325222"/>
              <a:gd name="connsiteY4" fmla="*/ 1346762 h 3353693"/>
              <a:gd name="connsiteX5" fmla="*/ 0 w 1325222"/>
              <a:gd name="connsiteY5" fmla="*/ 1050586 h 3353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25222" h="3353693">
                <a:moveTo>
                  <a:pt x="0" y="0"/>
                </a:moveTo>
                <a:lnTo>
                  <a:pt x="172792" y="0"/>
                </a:lnTo>
                <a:lnTo>
                  <a:pt x="1325222" y="0"/>
                </a:lnTo>
                <a:lnTo>
                  <a:pt x="1325222" y="3353693"/>
                </a:lnTo>
                <a:lnTo>
                  <a:pt x="172792" y="1346762"/>
                </a:lnTo>
                <a:lnTo>
                  <a:pt x="0" y="1050586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dirty="0" err="1">
              <a:solidFill>
                <a:srgbClr val="00000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9034" y="50801"/>
            <a:ext cx="1166565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551" y="1619251"/>
            <a:ext cx="9120574" cy="1243930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"/>
          <p:cNvSpPr txBox="1">
            <a:spLocks/>
          </p:cNvSpPr>
          <p:nvPr userDrawn="1"/>
        </p:nvSpPr>
        <p:spPr bwMode="gray">
          <a:xfrm>
            <a:off x="11421440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600" smtClean="0">
                <a:solidFill>
                  <a:srgbClr val="00ADEF"/>
                </a:solidFill>
              </a:rPr>
              <a:pPr/>
              <a:t>‹#›</a:t>
            </a:fld>
            <a:endParaRPr sz="600" dirty="0">
              <a:solidFill>
                <a:srgbClr val="00ADE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527216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600" dirty="0">
                <a:solidFill>
                  <a:srgbClr val="00ADEF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5158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3196994" y="3100822"/>
            <a:ext cx="5556712" cy="519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876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6994" y="3100822"/>
            <a:ext cx="5556712" cy="519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36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1168512" y="8410143"/>
            <a:ext cx="272832" cy="19915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AC982AD-5233-42C6-86A7-8A56C5AAF886}" type="slidenum">
              <a:rPr lang="en-US" sz="980" smtClean="0">
                <a:solidFill>
                  <a:srgbClr val="000000"/>
                </a:solidFill>
              </a:rPr>
              <a:pPr/>
              <a:t>‹#›</a:t>
            </a:fld>
            <a:endParaRPr lang="en-US" sz="98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2501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98638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03733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83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5922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bg>
      <p:bg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21440" y="6523663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00" smtClean="0">
                <a:solidFill>
                  <a:srgbClr val="FFFFFF"/>
                </a:solidFill>
              </a:rPr>
              <a:pPr/>
              <a:t>‹#›</a:t>
            </a:fld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0527398" y="6523663"/>
            <a:ext cx="75982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95"/>
            <a:r>
              <a:rPr lang="en-US" sz="6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10459034" y="50801"/>
            <a:ext cx="1166565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en-US" sz="45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19312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67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128" userDrawn="1">
          <p15:clr>
            <a:srgbClr val="00000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7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1400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x-none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4112474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22767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82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808080"/>
                </a:solidFill>
              </a:rPr>
              <a:pPr/>
              <a:t>‹#›</a:t>
            </a:fld>
            <a:endParaRPr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231224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47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50520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7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02858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357930" y="6429600"/>
            <a:ext cx="278391" cy="153888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/>
            </a:lvl1pPr>
          </a:lstStyle>
          <a:p>
            <a:fld id="{978679B1-F6F8-4190-8EC8-5CA3B4AC9DE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B2CB6DA-D4C8-4E35-837E-A37CFE9CD85E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1E0A5E07-75C9-43E9-88E8-16B02FB1A327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1F8D2A88-1EB9-4F9C-8644-A45FFADFDC6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E4DEE9AB-67F1-4250-863A-E5E10D2250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0578050-C650-4450-8A62-CBBC9D8DA6AF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1A73C0B4-C460-47C4-A796-475670ECF52A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8961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95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58779" y="166688"/>
            <a:ext cx="11493418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52765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1914723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781794" y="1"/>
            <a:ext cx="9171024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7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"/>
          <p:cNvSpPr>
            <a:spLocks noGrp="1" noChangeArrowheads="1"/>
          </p:cNvSpPr>
          <p:nvPr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8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19" name="Document type" hidden="1"/>
          <p:cNvSpPr txBox="1">
            <a:spLocks noChangeArrowheads="1"/>
          </p:cNvSpPr>
          <p:nvPr userDrawn="1"/>
        </p:nvSpPr>
        <p:spPr bwMode="gray">
          <a:xfrm>
            <a:off x="3024891" y="3582218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0" name="doc id" hidden="1"/>
          <p:cNvSpPr txBox="1">
            <a:spLocks noChangeArrowheads="1"/>
          </p:cNvSpPr>
          <p:nvPr userDrawn="1"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1" name="LogoImage"/>
          <p:cNvSpPr>
            <a:spLocks noEditPoints="1"/>
          </p:cNvSpPr>
          <p:nvPr userDrawn="1"/>
        </p:nvSpPr>
        <p:spPr bwMode="auto">
          <a:xfrm>
            <a:off x="3024890" y="150654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2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891" y="6410649"/>
            <a:ext cx="472677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9414760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897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11564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48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53261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2103733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21"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x-none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11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5" pos="5305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357930" y="6429600"/>
            <a:ext cx="278391" cy="153888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/>
            </a:lvl1pPr>
          </a:lstStyle>
          <a:p>
            <a:fld id="{978679B1-F6F8-4190-8EC8-5CA3B4AC9DE5}" type="slidenum">
              <a:rPr lang="en-US" smtClean="0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CB2CB6DA-D4C8-4E35-837E-A37CFE9CD85E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1E0A5E07-75C9-43E9-88E8-16B02FB1A327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1F8D2A88-1EB9-4F9C-8644-A45FFADFDC66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E4DEE9AB-67F1-4250-863A-E5E10D225071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A0578050-C650-4450-8A62-CBBC9D8DA6AF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396036" y="6435725"/>
            <a:ext cx="27839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1A73C0B4-C460-47C4-A796-475670ECF52A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</p:spTree>
    <p:extLst>
      <p:ext uri="{BB962C8B-B14F-4D97-AF65-F5344CB8AC3E}">
        <p14:creationId xmlns:p14="http://schemas.microsoft.com/office/powerpoint/2010/main" val="30863876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087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58779" y="166688"/>
            <a:ext cx="11493418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22055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781794" y="3047"/>
            <a:ext cx="9171024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257136" y="36514"/>
            <a:ext cx="397180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7991707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7991706" y="6410649"/>
            <a:ext cx="396111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5/2018 4:33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Printed 5/25/2017 2:13 PM Pacific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891" y="3119079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24890" y="3581761"/>
            <a:ext cx="8310355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3024152" y="155449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24891" y="6267797"/>
            <a:ext cx="472677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2.xml"/><Relationship Id="rId20" Type="http://schemas.openxmlformats.org/officeDocument/2006/relationships/tags" Target="../tags/tag13.xml"/><Relationship Id="rId21" Type="http://schemas.openxmlformats.org/officeDocument/2006/relationships/tags" Target="../tags/tag14.xml"/><Relationship Id="rId22" Type="http://schemas.openxmlformats.org/officeDocument/2006/relationships/tags" Target="../tags/tag15.xml"/><Relationship Id="rId23" Type="http://schemas.openxmlformats.org/officeDocument/2006/relationships/tags" Target="../tags/tag16.xml"/><Relationship Id="rId24" Type="http://schemas.openxmlformats.org/officeDocument/2006/relationships/tags" Target="../tags/tag17.xml"/><Relationship Id="rId25" Type="http://schemas.openxmlformats.org/officeDocument/2006/relationships/tags" Target="../tags/tag18.xml"/><Relationship Id="rId26" Type="http://schemas.openxmlformats.org/officeDocument/2006/relationships/oleObject" Target="../embeddings/oleObject1.bin"/><Relationship Id="rId27" Type="http://schemas.openxmlformats.org/officeDocument/2006/relationships/image" Target="../media/image1.emf"/><Relationship Id="rId10" Type="http://schemas.openxmlformats.org/officeDocument/2006/relationships/tags" Target="../tags/tag3.xml"/><Relationship Id="rId11" Type="http://schemas.openxmlformats.org/officeDocument/2006/relationships/tags" Target="../tags/tag4.xml"/><Relationship Id="rId12" Type="http://schemas.openxmlformats.org/officeDocument/2006/relationships/tags" Target="../tags/tag5.xml"/><Relationship Id="rId13" Type="http://schemas.openxmlformats.org/officeDocument/2006/relationships/tags" Target="../tags/tag6.xml"/><Relationship Id="rId14" Type="http://schemas.openxmlformats.org/officeDocument/2006/relationships/tags" Target="../tags/tag7.xml"/><Relationship Id="rId15" Type="http://schemas.openxmlformats.org/officeDocument/2006/relationships/tags" Target="../tags/tag8.xml"/><Relationship Id="rId16" Type="http://schemas.openxmlformats.org/officeDocument/2006/relationships/tags" Target="../tags/tag9.xml"/><Relationship Id="rId17" Type="http://schemas.openxmlformats.org/officeDocument/2006/relationships/tags" Target="../tags/tag10.xml"/><Relationship Id="rId18" Type="http://schemas.openxmlformats.org/officeDocument/2006/relationships/tags" Target="../tags/tag11.xml"/><Relationship Id="rId19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8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30.xml"/><Relationship Id="rId20" Type="http://schemas.openxmlformats.org/officeDocument/2006/relationships/tags" Target="../tags/tag41.xml"/><Relationship Id="rId21" Type="http://schemas.openxmlformats.org/officeDocument/2006/relationships/tags" Target="../tags/tag42.xml"/><Relationship Id="rId22" Type="http://schemas.openxmlformats.org/officeDocument/2006/relationships/tags" Target="../tags/tag43.xml"/><Relationship Id="rId23" Type="http://schemas.openxmlformats.org/officeDocument/2006/relationships/oleObject" Target="../embeddings/oleObject7.bin"/><Relationship Id="rId24" Type="http://schemas.openxmlformats.org/officeDocument/2006/relationships/image" Target="../media/image1.emf"/><Relationship Id="rId10" Type="http://schemas.openxmlformats.org/officeDocument/2006/relationships/tags" Target="../tags/tag31.xml"/><Relationship Id="rId11" Type="http://schemas.openxmlformats.org/officeDocument/2006/relationships/tags" Target="../tags/tag32.xml"/><Relationship Id="rId12" Type="http://schemas.openxmlformats.org/officeDocument/2006/relationships/tags" Target="../tags/tag33.xml"/><Relationship Id="rId13" Type="http://schemas.openxmlformats.org/officeDocument/2006/relationships/tags" Target="../tags/tag34.xml"/><Relationship Id="rId14" Type="http://schemas.openxmlformats.org/officeDocument/2006/relationships/tags" Target="../tags/tag35.xml"/><Relationship Id="rId15" Type="http://schemas.openxmlformats.org/officeDocument/2006/relationships/tags" Target="../tags/tag36.xml"/><Relationship Id="rId16" Type="http://schemas.openxmlformats.org/officeDocument/2006/relationships/tags" Target="../tags/tag37.xml"/><Relationship Id="rId17" Type="http://schemas.openxmlformats.org/officeDocument/2006/relationships/tags" Target="../tags/tag38.xml"/><Relationship Id="rId18" Type="http://schemas.openxmlformats.org/officeDocument/2006/relationships/tags" Target="../tags/tag39.xml"/><Relationship Id="rId19" Type="http://schemas.openxmlformats.org/officeDocument/2006/relationships/tags" Target="../tags/tag40.xml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7.vml"/><Relationship Id="rId6" Type="http://schemas.openxmlformats.org/officeDocument/2006/relationships/tags" Target="../tags/tag27.xml"/><Relationship Id="rId7" Type="http://schemas.openxmlformats.org/officeDocument/2006/relationships/tags" Target="../tags/tag28.xml"/><Relationship Id="rId8" Type="http://schemas.openxmlformats.org/officeDocument/2006/relationships/tags" Target="../tags/tag29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1.xml"/><Relationship Id="rId23" Type="http://schemas.openxmlformats.org/officeDocument/2006/relationships/theme" Target="../theme/theme3.xml"/><Relationship Id="rId24" Type="http://schemas.openxmlformats.org/officeDocument/2006/relationships/vmlDrawing" Target="../drawings/vmlDrawing9.vml"/><Relationship Id="rId25" Type="http://schemas.openxmlformats.org/officeDocument/2006/relationships/tags" Target="../tags/tag47.xml"/><Relationship Id="rId26" Type="http://schemas.openxmlformats.org/officeDocument/2006/relationships/tags" Target="../tags/tag48.xml"/><Relationship Id="rId27" Type="http://schemas.openxmlformats.org/officeDocument/2006/relationships/tags" Target="../tags/tag49.xml"/><Relationship Id="rId28" Type="http://schemas.openxmlformats.org/officeDocument/2006/relationships/tags" Target="../tags/tag50.xml"/><Relationship Id="rId29" Type="http://schemas.openxmlformats.org/officeDocument/2006/relationships/tags" Target="../tags/tag51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4.xml"/><Relationship Id="rId30" Type="http://schemas.openxmlformats.org/officeDocument/2006/relationships/tags" Target="../tags/tag52.xml"/><Relationship Id="rId31" Type="http://schemas.openxmlformats.org/officeDocument/2006/relationships/tags" Target="../tags/tag53.xml"/><Relationship Id="rId32" Type="http://schemas.openxmlformats.org/officeDocument/2006/relationships/tags" Target="../tags/tag54.xml"/><Relationship Id="rId9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6.xml"/><Relationship Id="rId8" Type="http://schemas.openxmlformats.org/officeDocument/2006/relationships/slideLayout" Target="../slideLayouts/slideLayout17.xml"/><Relationship Id="rId33" Type="http://schemas.openxmlformats.org/officeDocument/2006/relationships/tags" Target="../tags/tag55.xml"/><Relationship Id="rId34" Type="http://schemas.openxmlformats.org/officeDocument/2006/relationships/tags" Target="../tags/tag56.xml"/><Relationship Id="rId35" Type="http://schemas.openxmlformats.org/officeDocument/2006/relationships/tags" Target="../tags/tag57.xml"/><Relationship Id="rId36" Type="http://schemas.openxmlformats.org/officeDocument/2006/relationships/tags" Target="../tags/tag58.xml"/><Relationship Id="rId10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28.xml"/><Relationship Id="rId37" Type="http://schemas.openxmlformats.org/officeDocument/2006/relationships/tags" Target="../tags/tag59.xml"/><Relationship Id="rId38" Type="http://schemas.openxmlformats.org/officeDocument/2006/relationships/tags" Target="../tags/tag60.xml"/><Relationship Id="rId39" Type="http://schemas.openxmlformats.org/officeDocument/2006/relationships/tags" Target="../tags/tag61.xml"/><Relationship Id="rId40" Type="http://schemas.openxmlformats.org/officeDocument/2006/relationships/tags" Target="../tags/tag62.xml"/><Relationship Id="rId41" Type="http://schemas.openxmlformats.org/officeDocument/2006/relationships/tags" Target="../tags/tag63.xml"/><Relationship Id="rId42" Type="http://schemas.openxmlformats.org/officeDocument/2006/relationships/oleObject" Target="../embeddings/oleObject9.bin"/><Relationship Id="rId43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91.xml"/><Relationship Id="rId20" Type="http://schemas.openxmlformats.org/officeDocument/2006/relationships/tags" Target="../tags/tag102.xml"/><Relationship Id="rId21" Type="http://schemas.openxmlformats.org/officeDocument/2006/relationships/tags" Target="../tags/tag103.xml"/><Relationship Id="rId22" Type="http://schemas.openxmlformats.org/officeDocument/2006/relationships/tags" Target="../tags/tag104.xml"/><Relationship Id="rId23" Type="http://schemas.openxmlformats.org/officeDocument/2006/relationships/tags" Target="../tags/tag105.xml"/><Relationship Id="rId24" Type="http://schemas.openxmlformats.org/officeDocument/2006/relationships/tags" Target="../tags/tag106.xml"/><Relationship Id="rId25" Type="http://schemas.openxmlformats.org/officeDocument/2006/relationships/tags" Target="../tags/tag107.xml"/><Relationship Id="rId26" Type="http://schemas.openxmlformats.org/officeDocument/2006/relationships/oleObject" Target="../embeddings/oleObject23.bin"/><Relationship Id="rId27" Type="http://schemas.openxmlformats.org/officeDocument/2006/relationships/image" Target="../media/image1.emf"/><Relationship Id="rId28" Type="http://schemas.openxmlformats.org/officeDocument/2006/relationships/image" Target="../media/image19.png"/><Relationship Id="rId10" Type="http://schemas.openxmlformats.org/officeDocument/2006/relationships/tags" Target="../tags/tag92.xml"/><Relationship Id="rId11" Type="http://schemas.openxmlformats.org/officeDocument/2006/relationships/tags" Target="../tags/tag93.xml"/><Relationship Id="rId12" Type="http://schemas.openxmlformats.org/officeDocument/2006/relationships/tags" Target="../tags/tag94.xml"/><Relationship Id="rId13" Type="http://schemas.openxmlformats.org/officeDocument/2006/relationships/tags" Target="../tags/tag95.xml"/><Relationship Id="rId14" Type="http://schemas.openxmlformats.org/officeDocument/2006/relationships/tags" Target="../tags/tag96.xml"/><Relationship Id="rId15" Type="http://schemas.openxmlformats.org/officeDocument/2006/relationships/tags" Target="../tags/tag97.xml"/><Relationship Id="rId16" Type="http://schemas.openxmlformats.org/officeDocument/2006/relationships/tags" Target="../tags/tag98.xml"/><Relationship Id="rId17" Type="http://schemas.openxmlformats.org/officeDocument/2006/relationships/tags" Target="../tags/tag99.xml"/><Relationship Id="rId18" Type="http://schemas.openxmlformats.org/officeDocument/2006/relationships/tags" Target="../tags/tag100.xml"/><Relationship Id="rId19" Type="http://schemas.openxmlformats.org/officeDocument/2006/relationships/tags" Target="../tags/tag101.xml"/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7.xml"/><Relationship Id="rId7" Type="http://schemas.openxmlformats.org/officeDocument/2006/relationships/theme" Target="../theme/theme4.xml"/><Relationship Id="rId8" Type="http://schemas.openxmlformats.org/officeDocument/2006/relationships/vmlDrawing" Target="../drawings/vmlDrawing23.v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tags" Target="../tags/tag130.xml"/><Relationship Id="rId21" Type="http://schemas.openxmlformats.org/officeDocument/2006/relationships/tags" Target="../tags/tag131.xml"/><Relationship Id="rId22" Type="http://schemas.openxmlformats.org/officeDocument/2006/relationships/tags" Target="../tags/tag132.xml"/><Relationship Id="rId23" Type="http://schemas.openxmlformats.org/officeDocument/2006/relationships/tags" Target="../tags/tag133.xml"/><Relationship Id="rId24" Type="http://schemas.openxmlformats.org/officeDocument/2006/relationships/tags" Target="../tags/tag134.xml"/><Relationship Id="rId25" Type="http://schemas.openxmlformats.org/officeDocument/2006/relationships/tags" Target="../tags/tag135.xml"/><Relationship Id="rId26" Type="http://schemas.openxmlformats.org/officeDocument/2006/relationships/tags" Target="../tags/tag136.xml"/><Relationship Id="rId27" Type="http://schemas.openxmlformats.org/officeDocument/2006/relationships/tags" Target="../tags/tag137.xml"/><Relationship Id="rId28" Type="http://schemas.openxmlformats.org/officeDocument/2006/relationships/tags" Target="../tags/tag138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slideLayout" Target="../slideLayouts/slideLayout40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29.vml"/><Relationship Id="rId30" Type="http://schemas.openxmlformats.org/officeDocument/2006/relationships/tags" Target="../tags/tag140.xml"/><Relationship Id="rId31" Type="http://schemas.openxmlformats.org/officeDocument/2006/relationships/tags" Target="../tags/tag141.xml"/><Relationship Id="rId32" Type="http://schemas.openxmlformats.org/officeDocument/2006/relationships/tags" Target="../tags/tag142.xml"/><Relationship Id="rId9" Type="http://schemas.openxmlformats.org/officeDocument/2006/relationships/tags" Target="../tags/tag119.xml"/><Relationship Id="rId6" Type="http://schemas.openxmlformats.org/officeDocument/2006/relationships/tags" Target="../tags/tag116.xml"/><Relationship Id="rId7" Type="http://schemas.openxmlformats.org/officeDocument/2006/relationships/tags" Target="../tags/tag117.xml"/><Relationship Id="rId8" Type="http://schemas.openxmlformats.org/officeDocument/2006/relationships/tags" Target="../tags/tag118.xml"/><Relationship Id="rId33" Type="http://schemas.openxmlformats.org/officeDocument/2006/relationships/tags" Target="../tags/tag143.xml"/><Relationship Id="rId34" Type="http://schemas.openxmlformats.org/officeDocument/2006/relationships/tags" Target="../tags/tag144.xml"/><Relationship Id="rId35" Type="http://schemas.openxmlformats.org/officeDocument/2006/relationships/tags" Target="../tags/tag145.xml"/><Relationship Id="rId36" Type="http://schemas.openxmlformats.org/officeDocument/2006/relationships/tags" Target="../tags/tag146.xml"/><Relationship Id="rId10" Type="http://schemas.openxmlformats.org/officeDocument/2006/relationships/tags" Target="../tags/tag120.xml"/><Relationship Id="rId11" Type="http://schemas.openxmlformats.org/officeDocument/2006/relationships/tags" Target="../tags/tag121.xml"/><Relationship Id="rId12" Type="http://schemas.openxmlformats.org/officeDocument/2006/relationships/tags" Target="../tags/tag122.xml"/><Relationship Id="rId13" Type="http://schemas.openxmlformats.org/officeDocument/2006/relationships/tags" Target="../tags/tag123.xml"/><Relationship Id="rId14" Type="http://schemas.openxmlformats.org/officeDocument/2006/relationships/tags" Target="../tags/tag124.xml"/><Relationship Id="rId15" Type="http://schemas.openxmlformats.org/officeDocument/2006/relationships/tags" Target="../tags/tag125.xml"/><Relationship Id="rId16" Type="http://schemas.openxmlformats.org/officeDocument/2006/relationships/tags" Target="../tags/tag126.xml"/><Relationship Id="rId17" Type="http://schemas.openxmlformats.org/officeDocument/2006/relationships/tags" Target="../tags/tag127.xml"/><Relationship Id="rId18" Type="http://schemas.openxmlformats.org/officeDocument/2006/relationships/tags" Target="../tags/tag128.xml"/><Relationship Id="rId19" Type="http://schemas.openxmlformats.org/officeDocument/2006/relationships/tags" Target="../tags/tag129.xml"/><Relationship Id="rId37" Type="http://schemas.openxmlformats.org/officeDocument/2006/relationships/tags" Target="../tags/tag147.xml"/><Relationship Id="rId38" Type="http://schemas.openxmlformats.org/officeDocument/2006/relationships/oleObject" Target="../embeddings/oleObject29.bin"/><Relationship Id="rId3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20" Type="http://schemas.openxmlformats.org/officeDocument/2006/relationships/tags" Target="../tags/tag170.xml"/><Relationship Id="rId21" Type="http://schemas.openxmlformats.org/officeDocument/2006/relationships/tags" Target="../tags/tag171.xml"/><Relationship Id="rId22" Type="http://schemas.openxmlformats.org/officeDocument/2006/relationships/tags" Target="../tags/tag172.xml"/><Relationship Id="rId23" Type="http://schemas.openxmlformats.org/officeDocument/2006/relationships/tags" Target="../tags/tag173.xml"/><Relationship Id="rId24" Type="http://schemas.openxmlformats.org/officeDocument/2006/relationships/tags" Target="../tags/tag174.xml"/><Relationship Id="rId25" Type="http://schemas.openxmlformats.org/officeDocument/2006/relationships/tags" Target="../tags/tag175.xml"/><Relationship Id="rId26" Type="http://schemas.openxmlformats.org/officeDocument/2006/relationships/tags" Target="../tags/tag176.xml"/><Relationship Id="rId27" Type="http://schemas.openxmlformats.org/officeDocument/2006/relationships/tags" Target="../tags/tag177.xml"/><Relationship Id="rId28" Type="http://schemas.openxmlformats.org/officeDocument/2006/relationships/tags" Target="../tags/tag178.xml"/><Relationship Id="rId29" Type="http://schemas.openxmlformats.org/officeDocument/2006/relationships/tags" Target="../tags/tag179.xml"/><Relationship Id="rId1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2.xml"/><Relationship Id="rId3" Type="http://schemas.openxmlformats.org/officeDocument/2006/relationships/slideLayout" Target="../slideLayouts/slideLayout43.xml"/><Relationship Id="rId4" Type="http://schemas.openxmlformats.org/officeDocument/2006/relationships/theme" Target="../theme/theme6.xml"/><Relationship Id="rId5" Type="http://schemas.openxmlformats.org/officeDocument/2006/relationships/vmlDrawing" Target="../drawings/vmlDrawing33.vml"/><Relationship Id="rId30" Type="http://schemas.openxmlformats.org/officeDocument/2006/relationships/tags" Target="../tags/tag180.xml"/><Relationship Id="rId31" Type="http://schemas.openxmlformats.org/officeDocument/2006/relationships/tags" Target="../tags/tag181.xml"/><Relationship Id="rId32" Type="http://schemas.openxmlformats.org/officeDocument/2006/relationships/tags" Target="../tags/tag182.xml"/><Relationship Id="rId9" Type="http://schemas.openxmlformats.org/officeDocument/2006/relationships/tags" Target="../tags/tag159.xml"/><Relationship Id="rId6" Type="http://schemas.openxmlformats.org/officeDocument/2006/relationships/tags" Target="../tags/tag156.xml"/><Relationship Id="rId7" Type="http://schemas.openxmlformats.org/officeDocument/2006/relationships/tags" Target="../tags/tag157.xml"/><Relationship Id="rId8" Type="http://schemas.openxmlformats.org/officeDocument/2006/relationships/tags" Target="../tags/tag158.xml"/><Relationship Id="rId33" Type="http://schemas.openxmlformats.org/officeDocument/2006/relationships/tags" Target="../tags/tag183.xml"/><Relationship Id="rId34" Type="http://schemas.openxmlformats.org/officeDocument/2006/relationships/tags" Target="../tags/tag184.xml"/><Relationship Id="rId35" Type="http://schemas.openxmlformats.org/officeDocument/2006/relationships/tags" Target="../tags/tag185.xml"/><Relationship Id="rId36" Type="http://schemas.openxmlformats.org/officeDocument/2006/relationships/tags" Target="../tags/tag186.xml"/><Relationship Id="rId10" Type="http://schemas.openxmlformats.org/officeDocument/2006/relationships/tags" Target="../tags/tag160.xml"/><Relationship Id="rId11" Type="http://schemas.openxmlformats.org/officeDocument/2006/relationships/tags" Target="../tags/tag161.xml"/><Relationship Id="rId12" Type="http://schemas.openxmlformats.org/officeDocument/2006/relationships/tags" Target="../tags/tag162.xml"/><Relationship Id="rId13" Type="http://schemas.openxmlformats.org/officeDocument/2006/relationships/tags" Target="../tags/tag163.xml"/><Relationship Id="rId14" Type="http://schemas.openxmlformats.org/officeDocument/2006/relationships/tags" Target="../tags/tag164.xml"/><Relationship Id="rId15" Type="http://schemas.openxmlformats.org/officeDocument/2006/relationships/tags" Target="../tags/tag165.xml"/><Relationship Id="rId16" Type="http://schemas.openxmlformats.org/officeDocument/2006/relationships/tags" Target="../tags/tag166.xml"/><Relationship Id="rId17" Type="http://schemas.openxmlformats.org/officeDocument/2006/relationships/tags" Target="../tags/tag167.xml"/><Relationship Id="rId18" Type="http://schemas.openxmlformats.org/officeDocument/2006/relationships/tags" Target="../tags/tag168.xml"/><Relationship Id="rId19" Type="http://schemas.openxmlformats.org/officeDocument/2006/relationships/tags" Target="../tags/tag169.xml"/><Relationship Id="rId37" Type="http://schemas.openxmlformats.org/officeDocument/2006/relationships/tags" Target="../tags/tag187.xml"/><Relationship Id="rId38" Type="http://schemas.openxmlformats.org/officeDocument/2006/relationships/oleObject" Target="../embeddings/oleObject34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02536892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15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0" y="230189"/>
            <a:ext cx="1085534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58779" y="6305945"/>
            <a:ext cx="11493418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	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555327" y="279401"/>
            <a:ext cx="848482" cy="997467"/>
            <a:chOff x="7835905" y="279400"/>
            <a:chExt cx="63624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144840" y="279401"/>
            <a:ext cx="1259187" cy="730767"/>
            <a:chOff x="7540629" y="279400"/>
            <a:chExt cx="944223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466410" y="250825"/>
            <a:ext cx="937398" cy="1306516"/>
            <a:chOff x="7769225" y="250825"/>
            <a:chExt cx="70292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5" r:id="rId4"/>
    <p:sldLayoutId id="2147483676" r:id="rId5"/>
    <p:sldLayoutId id="2147483677" r:id="rId6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4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80" y="230189"/>
            <a:ext cx="107379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x-none"/>
              <a:t>Click to edit Master title style</a:t>
            </a:r>
            <a:endParaRPr lang="x-non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x-none" dirty="0"/>
              <a:t>Click to edit Master text styles</a:t>
            </a:r>
          </a:p>
          <a:p>
            <a:pPr lvl="1" latinLnBrk="0"/>
            <a:r>
              <a:rPr lang="x-none" dirty="0"/>
              <a:t>Second level</a:t>
            </a:r>
          </a:p>
          <a:p>
            <a:pPr lvl="2" latinLnBrk="0"/>
            <a:r>
              <a:rPr lang="x-none" dirty="0"/>
              <a:t>Third level</a:t>
            </a:r>
          </a:p>
          <a:p>
            <a:pPr lvl="3" latinLnBrk="0"/>
            <a:r>
              <a:rPr lang="x-none" dirty="0"/>
              <a:t>Fourth level</a:t>
            </a:r>
          </a:p>
          <a:p>
            <a:pPr lvl="4" latinLnBrk="0"/>
            <a:r>
              <a:rPr lang="x-none" dirty="0"/>
              <a:t>Fifth level</a:t>
            </a: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735015" y="6328651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397126" y="50802"/>
            <a:ext cx="125718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10558046" y="279401"/>
            <a:ext cx="848482" cy="997467"/>
            <a:chOff x="7835905" y="279400"/>
            <a:chExt cx="636249" cy="997467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10147559" y="279401"/>
            <a:ext cx="1259187" cy="730767"/>
            <a:chOff x="7540629" y="279400"/>
            <a:chExt cx="944223" cy="730767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10469129" y="250825"/>
            <a:ext cx="937398" cy="1306516"/>
            <a:chOff x="7769225" y="250825"/>
            <a:chExt cx="702924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980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6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019181" y="1952134"/>
            <a:ext cx="1676741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450">
                <a:solidFill>
                  <a:srgbClr val="808080"/>
                </a:solidFill>
                <a:latin typeface="Arial"/>
              </a:rPr>
              <a:t>Last Modified 2/5/2018 4:33 PM Central European Standard Time</a:t>
            </a:r>
            <a:endParaRPr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66179" y="4125960"/>
            <a:ext cx="182742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450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51" y="246889"/>
            <a:ext cx="1097095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552" y="75765"/>
            <a:ext cx="42479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7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552" y="612352"/>
            <a:ext cx="109743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2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475551" y="6321821"/>
            <a:ext cx="11400268" cy="309563"/>
            <a:chOff x="75" y="3946"/>
            <a:chExt cx="5385" cy="19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46"/>
              <a:ext cx="5385" cy="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4294" indent="-64294">
                <a:defRPr lang="x-none"/>
              </a:pPr>
              <a:r>
                <a:rPr sz="7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73"/>
              <a:ext cx="4702" cy="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57200" indent="-457200" defTabSz="895395"/>
              <a:r>
                <a:rPr lang="x-none" sz="700" dirty="0">
                  <a:solidFill>
                    <a:srgbClr val="808080"/>
                  </a:solidFill>
                  <a:latin typeface="Arial"/>
                </a:rPr>
                <a:t>SOURCE:</a:t>
              </a:r>
              <a:r>
                <a:rPr lang="en-US" sz="700" dirty="0">
                  <a:solidFill>
                    <a:srgbClr val="808080"/>
                  </a:solidFill>
                  <a:latin typeface="Arial"/>
                </a:rPr>
                <a:t>	</a:t>
              </a:r>
              <a:r>
                <a:rPr lang="x-none" sz="700" dirty="0">
                  <a:solidFill>
                    <a:srgbClr val="808080"/>
                  </a:solidFill>
                  <a:latin typeface="Arial"/>
                </a:rPr>
                <a:t>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553" y="1618489"/>
            <a:ext cx="9120574" cy="12439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551" y="1761522"/>
            <a:ext cx="5686374" cy="341313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2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sz="9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032478" y="285751"/>
            <a:ext cx="414023" cy="135422"/>
            <a:chOff x="8430314" y="285750"/>
            <a:chExt cx="310462" cy="13542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30314" y="285750"/>
              <a:ext cx="310462" cy="1354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95">
                <a:buClr>
                  <a:srgbClr val="000000"/>
                </a:buClr>
              </a:pPr>
              <a:r>
                <a:rPr lang="x-none" sz="7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30314" y="285750"/>
              <a:ext cx="0" cy="13542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30314" y="421172"/>
              <a:ext cx="31046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2" name="SlideBottomBar" hidden="1"/>
          <p:cNvSpPr/>
          <p:nvPr userDrawn="1"/>
        </p:nvSpPr>
        <p:spPr>
          <a:xfrm>
            <a:off x="11742135" y="6441642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200" dirty="0">
              <a:solidFill>
                <a:srgbClr val="000000"/>
              </a:solidFill>
            </a:endParaRPr>
          </a:p>
        </p:txBody>
      </p:sp>
      <p:sp>
        <p:nvSpPr>
          <p:cNvPr id="24" name="doc id" hidden="1"/>
          <p:cNvSpPr>
            <a:spLocks noChangeArrowheads="1"/>
          </p:cNvSpPr>
          <p:nvPr userDrawn="1"/>
        </p:nvSpPr>
        <p:spPr bwMode="gray">
          <a:xfrm>
            <a:off x="10253342" y="50801"/>
            <a:ext cx="1166565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682649" y="279402"/>
            <a:ext cx="638755" cy="984251"/>
            <a:chOff x="7835905" y="279400"/>
            <a:chExt cx="638670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467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0000"/>
                </a:buClr>
              </a:pPr>
              <a:r>
                <a:rPr lang="x-none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467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0000"/>
                </a:buClr>
              </a:pPr>
              <a:r>
                <a:rPr lang="x-none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467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0000"/>
                </a:buClr>
              </a:pPr>
              <a:r>
                <a:rPr lang="x-none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467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0000"/>
                </a:buClr>
              </a:pPr>
              <a:r>
                <a:rPr lang="x-none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374801" y="279400"/>
            <a:ext cx="946771" cy="684600"/>
            <a:chOff x="7540629" y="279400"/>
            <a:chExt cx="946645" cy="68460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467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0000"/>
                </a:buClr>
              </a:pPr>
              <a:r>
                <a:rPr lang="x-none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467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0000"/>
                </a:buClr>
              </a:pPr>
              <a:r>
                <a:rPr lang="x-none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467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0000"/>
                </a:buClr>
              </a:pPr>
              <a:r>
                <a:rPr lang="x-none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15965" y="279400"/>
            <a:ext cx="705439" cy="1306516"/>
            <a:chOff x="7769225" y="250825"/>
            <a:chExt cx="705345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467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0000"/>
                </a:buClr>
              </a:pPr>
              <a:r>
                <a:rPr lang="x-none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467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0000"/>
                </a:buClr>
              </a:pPr>
              <a:r>
                <a:rPr lang="x-none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467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0000"/>
                </a:buClr>
              </a:pPr>
              <a:r>
                <a:rPr lang="x-none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467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0000"/>
                </a:buClr>
              </a:pPr>
              <a:r>
                <a:rPr lang="x-none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467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0000"/>
                </a:buClr>
              </a:pPr>
              <a:r>
                <a:rPr lang="x-none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9896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8" r:id="rId19"/>
    <p:sldLayoutId id="2147483699" r:id="rId20"/>
    <p:sldLayoutId id="2147483700" r:id="rId21"/>
    <p:sldLayoutId id="2147483701" r:id="rId22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895395" rtl="0" eaLnBrk="1" fontAlgn="base" hangingPunct="1">
        <a:spcBef>
          <a:spcPct val="0"/>
        </a:spcBef>
        <a:spcAft>
          <a:spcPct val="0"/>
        </a:spcAft>
        <a:tabLst>
          <a:tab pos="269888" algn="l"/>
        </a:tabLst>
        <a:defRPr lang="x-none" sz="20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23"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46"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68"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92"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95" rtl="0" eaLnBrk="1" fontAlgn="base" hangingPunct="1">
        <a:spcBef>
          <a:spcPts val="450"/>
        </a:spcBef>
        <a:spcAft>
          <a:spcPts val="450"/>
        </a:spcAft>
        <a:buClr>
          <a:schemeClr val="tx2"/>
        </a:buClr>
        <a:buSzPct val="100000"/>
        <a:defRPr lang="x-none" sz="12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587" indent="0" algn="l" defTabSz="895395" rtl="0" eaLnBrk="1" fontAlgn="base" hangingPunct="1">
        <a:spcBef>
          <a:spcPts val="450"/>
        </a:spcBef>
        <a:spcAft>
          <a:spcPts val="450"/>
        </a:spcAft>
        <a:buClr>
          <a:schemeClr val="tx2"/>
        </a:buClr>
        <a:buSzPct val="125000"/>
        <a:buFontTx/>
        <a:buNone/>
        <a:defRPr lang="x-none" sz="1200" b="0" baseline="0">
          <a:solidFill>
            <a:schemeClr val="tx1"/>
          </a:solidFill>
          <a:latin typeface="+mn-lt"/>
        </a:defRPr>
      </a:lvl2pPr>
      <a:lvl3pPr marL="126206" indent="-126206" algn="l" defTabSz="895395" rtl="0" eaLnBrk="1" fontAlgn="base" hangingPunct="1">
        <a:spcBef>
          <a:spcPct val="0"/>
        </a:spcBef>
        <a:spcAft>
          <a:spcPts val="450"/>
        </a:spcAft>
        <a:buClrTx/>
        <a:buSzPct val="100000"/>
        <a:buFont typeface="Arial" panose="020B0604020202020204" pitchFamily="34" charset="0"/>
        <a:buChar char="•"/>
        <a:defRPr lang="x-none" sz="1200" baseline="0">
          <a:solidFill>
            <a:schemeClr val="tx1"/>
          </a:solidFill>
          <a:latin typeface="+mn-lt"/>
        </a:defRPr>
      </a:lvl3pPr>
      <a:lvl4pPr marL="263129" indent="-136922" algn="l" defTabSz="895395" rtl="0" eaLnBrk="1" fontAlgn="base" hangingPunct="1">
        <a:spcBef>
          <a:spcPct val="0"/>
        </a:spcBef>
        <a:spcAft>
          <a:spcPts val="45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00" baseline="0">
          <a:solidFill>
            <a:schemeClr val="accent6"/>
          </a:solidFill>
          <a:latin typeface="+mn-lt"/>
        </a:defRPr>
      </a:lvl4pPr>
      <a:lvl5pPr marL="434579" indent="-171450" algn="l" defTabSz="895395" rtl="0" eaLnBrk="1" fontAlgn="base" hangingPunct="1">
        <a:spcBef>
          <a:spcPct val="0"/>
        </a:spcBef>
        <a:spcAft>
          <a:spcPts val="45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00" baseline="0">
          <a:solidFill>
            <a:schemeClr val="accent6"/>
          </a:solidFill>
          <a:latin typeface="+mn-lt"/>
        </a:defRPr>
      </a:lvl5pPr>
      <a:lvl6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8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 userDrawn="1">
          <p15:clr>
            <a:srgbClr val="F26B43"/>
          </p15:clr>
        </p15:guide>
        <p15:guide id="2" pos="92" userDrawn="1">
          <p15:clr>
            <a:srgbClr val="F26B43"/>
          </p15:clr>
        </p15:guide>
        <p15:guide id="3" pos="284" userDrawn="1">
          <p15:clr>
            <a:srgbClr val="F26B43"/>
          </p15:clr>
        </p15:guide>
        <p15:guide id="4" pos="1436" userDrawn="1">
          <p15:clr>
            <a:srgbClr val="F26B43"/>
          </p15:clr>
        </p15:guide>
        <p15:guide id="5" pos="7197" userDrawn="1">
          <p15:clr>
            <a:srgbClr val="F26B43"/>
          </p15:clr>
        </p15:guide>
        <p15:guide id="6" pos="6045" userDrawn="1">
          <p15:clr>
            <a:srgbClr val="F26B43"/>
          </p15:clr>
        </p15:guide>
        <p15:guide id="7" pos="4892" userDrawn="1">
          <p15:clr>
            <a:srgbClr val="F26B43"/>
          </p15:clr>
        </p15:guide>
        <p15:guide id="8" pos="3741" userDrawn="1">
          <p15:clr>
            <a:srgbClr val="F26B43"/>
          </p15:clr>
        </p15:guide>
        <p15:guide id="9" pos="2587" userDrawn="1">
          <p15:clr>
            <a:srgbClr val="F26B43"/>
          </p15:clr>
        </p15:guide>
        <p15:guide id="10" orient="horz" pos="1020" userDrawn="1">
          <p15:clr>
            <a:srgbClr val="F26B43"/>
          </p15:clr>
        </p15:guide>
        <p15:guide id="11" orient="horz" pos="797" userDrawn="1">
          <p15:clr>
            <a:srgbClr val="F26B43"/>
          </p15:clr>
        </p15:guide>
        <p15:guide id="12" orient="horz" pos="557" userDrawn="1">
          <p15:clr>
            <a:srgbClr val="F26B43"/>
          </p15:clr>
        </p15:guide>
        <p15:guide id="13" orient="horz" pos="2844" userDrawn="1">
          <p15:clr>
            <a:srgbClr val="F26B43"/>
          </p15:clr>
        </p15:guide>
        <p15:guide id="14" orient="horz" pos="3756" userDrawn="1">
          <p15:clr>
            <a:srgbClr val="F26B43"/>
          </p15:clr>
        </p15:guide>
        <p15:guide id="15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96705308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777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0" y="230189"/>
            <a:ext cx="1085534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58779" y="6305945"/>
            <a:ext cx="11493418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x-none" sz="800" dirty="0">
                  <a:solidFill>
                    <a:srgbClr val="808080"/>
                  </a:solidFill>
                  <a:latin typeface="Arial"/>
                </a:rPr>
                <a:t>SOURCE:	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2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555327" y="279401"/>
            <a:ext cx="848482" cy="997467"/>
            <a:chOff x="7835905" y="279400"/>
            <a:chExt cx="63624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144840" y="279401"/>
            <a:ext cx="1259187" cy="730767"/>
            <a:chOff x="7540629" y="279400"/>
            <a:chExt cx="944223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466410" y="250825"/>
            <a:ext cx="937398" cy="1306516"/>
            <a:chOff x="7769225" y="250825"/>
            <a:chExt cx="70292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pic>
        <p:nvPicPr>
          <p:cNvPr id="63" name="Picture 62"/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478" y="173039"/>
            <a:ext cx="657923" cy="33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416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18968360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2" name="Slide Elements" hidden="1"/>
          <p:cNvGrpSpPr/>
          <p:nvPr userDrawn="1"/>
        </p:nvGrpSpPr>
        <p:grpSpPr bwMode="gray">
          <a:xfrm>
            <a:off x="158779" y="6305945"/>
            <a:ext cx="11493418" cy="325438"/>
            <a:chOff x="119063" y="6305945"/>
            <a:chExt cx="8618537" cy="325438"/>
          </a:xfrm>
        </p:grpSpPr>
        <p:sp>
          <p:nvSpPr>
            <p:cNvPr id="6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6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	Source</a:t>
              </a:r>
            </a:p>
          </p:txBody>
        </p:sp>
      </p:grpSp>
      <p:sp>
        <p:nvSpPr>
          <p:cNvPr id="65" name="SlideBottomBar" hidden="1"/>
          <p:cNvSpPr/>
          <p:nvPr userDrawn="1"/>
        </p:nvSpPr>
        <p:spPr>
          <a:xfrm>
            <a:off x="11347343" y="6327340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6" name="doc id" hidden="1"/>
          <p:cNvSpPr>
            <a:spLocks noChangeArrowheads="1"/>
          </p:cNvSpPr>
          <p:nvPr userDrawn="1"/>
        </p:nvSpPr>
        <p:spPr bwMode="auto">
          <a:xfrm>
            <a:off x="10777860" y="50802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67" name="LegendBoxes" hidden="1"/>
          <p:cNvGrpSpPr/>
          <p:nvPr userDrawn="1"/>
        </p:nvGrpSpPr>
        <p:grpSpPr bwMode="gray">
          <a:xfrm>
            <a:off x="10555327" y="279401"/>
            <a:ext cx="848482" cy="997467"/>
            <a:chOff x="7835905" y="279400"/>
            <a:chExt cx="636249" cy="997467"/>
          </a:xfrm>
        </p:grpSpPr>
        <p:sp>
          <p:nvSpPr>
            <p:cNvPr id="68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2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5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6" name="LegendLines" hidden="1"/>
          <p:cNvGrpSpPr/>
          <p:nvPr userDrawn="1"/>
        </p:nvGrpSpPr>
        <p:grpSpPr bwMode="gray">
          <a:xfrm>
            <a:off x="10144840" y="279401"/>
            <a:ext cx="1259187" cy="730767"/>
            <a:chOff x="7540629" y="279400"/>
            <a:chExt cx="944223" cy="730767"/>
          </a:xfrm>
        </p:grpSpPr>
        <p:sp>
          <p:nvSpPr>
            <p:cNvPr id="77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8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79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00" baseline="0" dirty="0">
                <a:latin typeface="+mn-lt"/>
                <a:ea typeface="+mn-ea"/>
              </a:endParaRPr>
            </a:p>
          </p:txBody>
        </p:sp>
        <p:sp>
          <p:nvSpPr>
            <p:cNvPr id="80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4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3" name="LegendMoons" hidden="1"/>
          <p:cNvGrpSpPr/>
          <p:nvPr userDrawn="1"/>
        </p:nvGrpSpPr>
        <p:grpSpPr bwMode="gray">
          <a:xfrm>
            <a:off x="10466410" y="250825"/>
            <a:ext cx="937398" cy="1306516"/>
            <a:chOff x="7769225" y="250825"/>
            <a:chExt cx="702924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89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0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1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2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3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4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9908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45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13641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4" Type="http://schemas.openxmlformats.org/officeDocument/2006/relationships/slideLayout" Target="../slideLayouts/slideLayout39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36.bin"/><Relationship Id="rId1" Type="http://schemas.openxmlformats.org/officeDocument/2006/relationships/vmlDrawing" Target="../drawings/vmlDrawing35.vml"/><Relationship Id="rId2" Type="http://schemas.openxmlformats.org/officeDocument/2006/relationships/tags" Target="../tags/tag1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0498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800144"/>
              </p:ext>
            </p:extLst>
          </p:nvPr>
        </p:nvGraphicFramePr>
        <p:xfrm>
          <a:off x="2614134" y="839677"/>
          <a:ext cx="119086" cy="1190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38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2614134" y="839677"/>
                        <a:ext cx="119086" cy="11908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049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14134" y="839677"/>
            <a:ext cx="119086" cy="11908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176" dirty="0">
              <a:solidFill>
                <a:srgbClr val="4D4D4D"/>
              </a:solidFill>
              <a:sym typeface="Calibri" panose="020F050202020403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4232" y="230189"/>
            <a:ext cx="8140069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oubled enterprise value of mid-size B2B SW company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8485692" y="1575659"/>
            <a:ext cx="213541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accent3"/>
                </a:solidFill>
              </a:rPr>
              <a:t>2x</a:t>
            </a:r>
            <a:endParaRPr lang="en-US" sz="1200" dirty="0">
              <a:solidFill>
                <a:schemeClr val="accent3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961567" y="1575659"/>
            <a:ext cx="1614454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dirty="0"/>
              <a:t>Increase in stock price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8485692" y="2032864"/>
            <a:ext cx="213541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accent3"/>
                </a:solidFill>
              </a:rPr>
              <a:t>All</a:t>
            </a:r>
            <a:endParaRPr lang="en-US" sz="1200" dirty="0">
              <a:solidFill>
                <a:schemeClr val="accent3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8961567" y="2034390"/>
            <a:ext cx="223867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dirty="0"/>
              <a:t>Upgrades from every analyst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8485692" y="3148110"/>
            <a:ext cx="128310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800" b="1" dirty="0">
                <a:solidFill>
                  <a:schemeClr val="accent3"/>
                </a:solidFill>
              </a:rPr>
              <a:t>-10%</a:t>
            </a:r>
            <a:endParaRPr lang="en-US" sz="1800" dirty="0">
              <a:solidFill>
                <a:schemeClr val="accent3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8485691" y="3821717"/>
            <a:ext cx="229249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dirty="0"/>
              <a:t>Turned around bookings growth trajectory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9458303" y="2465302"/>
            <a:ext cx="136776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800" b="1" dirty="0">
                <a:solidFill>
                  <a:schemeClr val="accent3"/>
                </a:solidFill>
              </a:rPr>
              <a:t>+25%</a:t>
            </a:r>
            <a:endParaRPr lang="en-US" sz="1800" dirty="0">
              <a:solidFill>
                <a:schemeClr val="accent3"/>
              </a:solidFill>
            </a:endParaRPr>
          </a:p>
        </p:txBody>
      </p:sp>
      <p:sp>
        <p:nvSpPr>
          <p:cNvPr id="16" name="Right Arrow 15"/>
          <p:cNvSpPr/>
          <p:nvPr/>
        </p:nvSpPr>
        <p:spPr>
          <a:xfrm rot="19013153">
            <a:off x="9190596" y="2765726"/>
            <a:ext cx="654570" cy="630258"/>
          </a:xfrm>
          <a:prstGeom prst="rightArrow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224319" y="1575659"/>
            <a:ext cx="3154148" cy="1661993"/>
          </a:xfrm>
          <a:prstGeom prst="rect">
            <a:avLst/>
          </a:prstGeom>
        </p:spPr>
        <p:txBody>
          <a:bodyPr vert="horz" wrap="square" lIns="0" tIns="0" rIns="78373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/>
            <a:r>
              <a:rPr lang="en-US" sz="1200" b="1" dirty="0">
                <a:solidFill>
                  <a:schemeClr val="accent3"/>
                </a:solidFill>
                <a:cs typeface="Segoe UI" panose="020B0502040204020203" pitchFamily="34" charset="0"/>
              </a:rPr>
              <a:t>Mid-sized B2B Software client (~$1.5B rev) </a:t>
            </a:r>
            <a:r>
              <a:rPr lang="en-US" sz="1200" dirty="0">
                <a:cs typeface="Segoe UI" panose="020B0502040204020203" pitchFamily="34" charset="0"/>
              </a:rPr>
              <a:t>with mostly on-</a:t>
            </a:r>
            <a:r>
              <a:rPr lang="en-US" sz="1200" dirty="0" err="1">
                <a:cs typeface="Segoe UI" panose="020B0502040204020203" pitchFamily="34" charset="0"/>
              </a:rPr>
              <a:t>prem</a:t>
            </a:r>
            <a:r>
              <a:rPr lang="en-US" sz="1200" dirty="0">
                <a:cs typeface="Segoe UI" panose="020B0502040204020203" pitchFamily="34" charset="0"/>
              </a:rPr>
              <a:t> product portfolio, sold perpetually </a:t>
            </a:r>
          </a:p>
          <a:p>
            <a:pPr lvl="1"/>
            <a:r>
              <a:rPr lang="en-US" sz="1200" b="1" dirty="0">
                <a:solidFill>
                  <a:schemeClr val="accent3"/>
                </a:solidFill>
                <a:cs typeface="Segoe UI" panose="020B0502040204020203" pitchFamily="34" charset="0"/>
              </a:rPr>
              <a:t>Significant challenges to its business model: </a:t>
            </a:r>
            <a:r>
              <a:rPr lang="en-US" sz="1200" dirty="0">
                <a:cs typeface="Segoe UI" panose="020B0502040204020203" pitchFamily="34" charset="0"/>
              </a:rPr>
              <a:t>Lost edge against main competitor (growth flat vs. 15% growth); many customers with high </a:t>
            </a:r>
            <a:r>
              <a:rPr lang="en-US" sz="1200" dirty="0" err="1">
                <a:cs typeface="Segoe UI" panose="020B0502040204020203" pitchFamily="34" charset="0"/>
              </a:rPr>
              <a:t>shelfware</a:t>
            </a:r>
            <a:r>
              <a:rPr lang="en-US" sz="1200" dirty="0">
                <a:cs typeface="Segoe UI" panose="020B0502040204020203" pitchFamily="34" charset="0"/>
              </a:rPr>
              <a:t> (&gt;25%) leading to large discounts; 3-5 </a:t>
            </a:r>
            <a:r>
              <a:rPr lang="en-US" sz="1200" dirty="0" err="1">
                <a:cs typeface="Segoe UI" panose="020B0502040204020203" pitchFamily="34" charset="0"/>
              </a:rPr>
              <a:t>yr</a:t>
            </a:r>
            <a:r>
              <a:rPr lang="en-US" sz="1200" dirty="0">
                <a:cs typeface="Segoe UI" panose="020B0502040204020203" pitchFamily="34" charset="0"/>
              </a:rPr>
              <a:t> revenue cycles with dependence on big deals</a:t>
            </a:r>
          </a:p>
        </p:txBody>
      </p:sp>
      <p:sp>
        <p:nvSpPr>
          <p:cNvPr id="9" name="TextBox 8"/>
          <p:cNvSpPr txBox="1">
            <a:spLocks/>
          </p:cNvSpPr>
          <p:nvPr/>
        </p:nvSpPr>
        <p:spPr>
          <a:xfrm>
            <a:off x="3856691" y="1585933"/>
            <a:ext cx="3992180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Transitioned &gt;60% of new bookings to subscription </a:t>
            </a:r>
            <a:r>
              <a:rPr lang="en-US" sz="1200" dirty="0"/>
              <a:t>with a 20%+ customer value uplift</a:t>
            </a:r>
          </a:p>
          <a:p>
            <a:pPr lvl="1">
              <a:spcBef>
                <a:spcPct val="50000"/>
              </a:spcBef>
            </a:pPr>
            <a:r>
              <a:rPr lang="en-US" sz="1200" dirty="0"/>
              <a:t>Launched a new product line through M&amp;A in a </a:t>
            </a:r>
            <a:r>
              <a:rPr lang="en-US" sz="1200" b="1" dirty="0">
                <a:solidFill>
                  <a:schemeClr val="accent3"/>
                </a:solidFill>
              </a:rPr>
              <a:t>high growth adjacent marke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856691" y="2683155"/>
            <a:ext cx="399218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Reallocated 10% of R&amp;D spend </a:t>
            </a:r>
            <a:r>
              <a:rPr lang="en-US" sz="1200" dirty="0"/>
              <a:t>and 5% of sales investment to higher growth areas</a:t>
            </a: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3856691" y="3270563"/>
            <a:ext cx="3992180" cy="156966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200" dirty="0"/>
              <a:t>Instituted </a:t>
            </a:r>
            <a:r>
              <a:rPr lang="en-US" sz="1200" b="1" dirty="0">
                <a:solidFill>
                  <a:schemeClr val="accent3"/>
                </a:solidFill>
              </a:rPr>
              <a:t>dynamic deal scoring</a:t>
            </a:r>
            <a:r>
              <a:rPr lang="en-US" sz="1200" dirty="0"/>
              <a:t>, driving higher value capture on new sales</a:t>
            </a:r>
          </a:p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Re-defined account coverage model </a:t>
            </a:r>
            <a:r>
              <a:rPr lang="en-US" sz="1200" dirty="0"/>
              <a:t>to better match opportunity in the market</a:t>
            </a:r>
          </a:p>
          <a:p>
            <a:pPr lvl="1">
              <a:spcBef>
                <a:spcPct val="50000"/>
              </a:spcBef>
            </a:pPr>
            <a:r>
              <a:rPr lang="en-US" sz="1200" dirty="0"/>
              <a:t>Created </a:t>
            </a:r>
            <a:r>
              <a:rPr lang="en-US" sz="1200" b="1" dirty="0">
                <a:solidFill>
                  <a:schemeClr val="accent3"/>
                </a:solidFill>
              </a:rPr>
              <a:t>role-based customer journey selling </a:t>
            </a:r>
            <a:r>
              <a:rPr lang="en-US" sz="1200" dirty="0"/>
              <a:t>tools and training to sell value</a:t>
            </a:r>
          </a:p>
          <a:p>
            <a:pPr lvl="1">
              <a:spcBef>
                <a:spcPct val="50000"/>
              </a:spcBef>
            </a:pPr>
            <a:r>
              <a:rPr lang="en-US" sz="1200" b="1" dirty="0">
                <a:solidFill>
                  <a:schemeClr val="accent3"/>
                </a:solidFill>
              </a:rPr>
              <a:t>Repackaged product line </a:t>
            </a:r>
            <a:r>
              <a:rPr lang="en-US" sz="1200" dirty="0"/>
              <a:t>end-to-end</a:t>
            </a:r>
          </a:p>
        </p:txBody>
      </p:sp>
      <p:sp>
        <p:nvSpPr>
          <p:cNvPr id="34" name="Rectangle 13">
            <a:extLst>
              <a:ext uri="{FF2B5EF4-FFF2-40B4-BE49-F238E27FC236}">
                <a16:creationId xmlns:a16="http://schemas.microsoft.com/office/drawing/2014/main" xmlns="" id="{78E41515-F029-DF4E-A9FD-5F74732FE6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1613695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MT |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North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merica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5" name="Rectangle 13">
            <a:extLst>
              <a:ext uri="{FF2B5EF4-FFF2-40B4-BE49-F238E27FC236}">
                <a16:creationId xmlns:a16="http://schemas.microsoft.com/office/drawing/2014/main" xmlns="" id="{81D94DD4-0C14-6E4B-B18F-ADB43C9FDAA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371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HIT019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7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8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02693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40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1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3848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78984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678984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150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MTBTACCENT" val="Accent3"/>
  <p:tag name="ISNEWSLIDENUMBER" val="True"/>
  <p:tag name="NEWNAMES" val="True"/>
  <p:tag name="PREVIOUSNAME" val="C:\Users\Anuradha Sarin\Documents\13 Sales Compass\13 B_ S&amp;C Case Library\Case_Doubled_enterprise_value_of_mid_size_B2B_Software_company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8QXnFQUkyUTgDSKn4f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FC1AF943-87CF-4E85-BE90-E3F3900CA08D}" vid="{8FA68575-9307-424F-8094-099811B06A5B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FC1AF943-87CF-4E85-BE90-E3F3900CA08D}" vid="{37AEE13F-BA29-4BA1-8A9F-65A910F22487}"/>
    </a:ext>
  </a:extLst>
</a:theme>
</file>

<file path=ppt/theme/theme3.xml><?xml version="1.0" encoding="utf-8"?>
<a:theme xmlns:a="http://schemas.openxmlformats.org/drawingml/2006/main" name="Firm Format - template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F27F00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wide" id="{E85BD650-D826-4F90-9AFD-83C0D210F41C}" vid="{F8F8C855-5522-4EBB-B801-868FC909F5AC}"/>
    </a:ext>
  </a:extLst>
</a:theme>
</file>

<file path=ppt/theme/theme4.xml><?xml version="1.0" encoding="utf-8"?>
<a:theme xmlns:a="http://schemas.openxmlformats.org/drawingml/2006/main" name="1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FC1AF943-87CF-4E85-BE90-E3F3900CA08D}" vid="{8FA68575-9307-424F-8094-099811B06A5B}"/>
    </a:ext>
  </a:extLst>
</a:theme>
</file>

<file path=ppt/theme/theme5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6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8</Words>
  <Application>Microsoft Macintosh PowerPoint</Application>
  <PresentationFormat>Custom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Calibri</vt:lpstr>
      <vt:lpstr>Georgia</vt:lpstr>
      <vt:lpstr>Segoe UI</vt:lpstr>
      <vt:lpstr>Times New Roman</vt:lpstr>
      <vt:lpstr>Arial</vt:lpstr>
      <vt:lpstr>Firm Format - template_Blue</vt:lpstr>
      <vt:lpstr>Firm Format - template_Grey</vt:lpstr>
      <vt:lpstr>Firm Format - template</vt:lpstr>
      <vt:lpstr>1_Firm Format - template_Blue</vt:lpstr>
      <vt:lpstr>M&amp;S Theme</vt:lpstr>
      <vt:lpstr>1_Firm Format - template_Grey</vt:lpstr>
      <vt:lpstr>think-cell Slide</vt:lpstr>
      <vt:lpstr>Doubled enterprise value of mid-size B2B SW company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9-05-21T18:53:52Z</cp:lastPrinted>
  <dcterms:created xsi:type="dcterms:W3CDTF">2017-05-18T21:13:40Z</dcterms:created>
  <dcterms:modified xsi:type="dcterms:W3CDTF">2019-05-21T18:55:34Z</dcterms:modified>
  <cp:category/>
  <cp:contentStatus/>
  <dc:language/>
  <cp:version/>
</cp:coreProperties>
</file>